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9"/>
  </p:notesMasterIdLst>
  <p:sldIdLst>
    <p:sldId id="256" r:id="rId3"/>
    <p:sldId id="269" r:id="rId4"/>
    <p:sldId id="271" r:id="rId5"/>
    <p:sldId id="260" r:id="rId6"/>
    <p:sldId id="261" r:id="rId7"/>
    <p:sldId id="272" r:id="rId8"/>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129" autoAdjust="0"/>
  </p:normalViewPr>
  <p:slideViewPr>
    <p:cSldViewPr snapToGrid="0">
      <p:cViewPr varScale="1">
        <p:scale>
          <a:sx n="105" d="100"/>
          <a:sy n="105" d="100"/>
        </p:scale>
        <p:origin x="1854" y="96"/>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Regression</a:t>
            </a:r>
            <a:r>
              <a:rPr lang="en-US" baseline="0" dirty="0">
                <a:solidFill>
                  <a:schemeClr val="tx1"/>
                </a:solidFill>
              </a:rPr>
              <a:t> Equation to Model </a:t>
            </a:r>
            <a:r>
              <a:rPr lang="en-US" baseline="0" dirty="0" err="1">
                <a:solidFill>
                  <a:schemeClr val="tx1"/>
                </a:solidFill>
              </a:rPr>
              <a:t>Surjek</a:t>
            </a:r>
            <a:r>
              <a:rPr lang="en-US" baseline="0" dirty="0">
                <a:solidFill>
                  <a:schemeClr val="tx1"/>
                </a:solidFill>
              </a:rPr>
              <a:t> Pump Failure</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Q8. Regression Equation'!$K$2</c:f>
              <c:strCache>
                <c:ptCount val="1"/>
                <c:pt idx="0">
                  <c:v>Regression Equation</c:v>
                </c:pt>
              </c:strCache>
            </c:strRef>
          </c:tx>
          <c:spPr>
            <a:ln w="28575" cap="rnd">
              <a:solidFill>
                <a:schemeClr val="accent2"/>
              </a:solidFill>
              <a:round/>
            </a:ln>
            <a:effectLst/>
          </c:spPr>
          <c:marker>
            <c:symbol val="none"/>
          </c:marker>
          <c:val>
            <c:numRef>
              <c:f>'Q8. Regression Equation'!$K$3:$K$6999</c:f>
              <c:numCache>
                <c:formatCode>General</c:formatCode>
                <c:ptCount val="6997"/>
                <c:pt idx="0">
                  <c:v>3.7604457779518687E-2</c:v>
                </c:pt>
                <c:pt idx="1">
                  <c:v>2.4964635669254991E-2</c:v>
                </c:pt>
                <c:pt idx="2">
                  <c:v>-7.1243301197150355E-3</c:v>
                </c:pt>
                <c:pt idx="3">
                  <c:v>-6.9490620679698786E-3</c:v>
                </c:pt>
                <c:pt idx="4">
                  <c:v>-7.0051012185075512E-3</c:v>
                </c:pt>
                <c:pt idx="5">
                  <c:v>-6.6963219898204043E-3</c:v>
                </c:pt>
                <c:pt idx="6">
                  <c:v>-6.6088768723459373E-3</c:v>
                </c:pt>
                <c:pt idx="7">
                  <c:v>-6.6523679056827295E-3</c:v>
                </c:pt>
                <c:pt idx="8">
                  <c:v>-6.6972593281509193E-3</c:v>
                </c:pt>
                <c:pt idx="9">
                  <c:v>-6.7544637244131558E-3</c:v>
                </c:pt>
                <c:pt idx="10">
                  <c:v>-6.792851494539268E-3</c:v>
                </c:pt>
                <c:pt idx="11">
                  <c:v>-6.7626194040351093E-3</c:v>
                </c:pt>
                <c:pt idx="12">
                  <c:v>-6.5772481554825938E-3</c:v>
                </c:pt>
                <c:pt idx="13">
                  <c:v>-6.5874636168778092E-3</c:v>
                </c:pt>
                <c:pt idx="14">
                  <c:v>-6.6439403203329694E-3</c:v>
                </c:pt>
                <c:pt idx="15">
                  <c:v>-6.6046864549445285E-3</c:v>
                </c:pt>
                <c:pt idx="16">
                  <c:v>-6.2298892127843602E-3</c:v>
                </c:pt>
                <c:pt idx="17">
                  <c:v>-6.1348978449387295E-3</c:v>
                </c:pt>
                <c:pt idx="18">
                  <c:v>-6.0916772894828468E-3</c:v>
                </c:pt>
                <c:pt idx="19">
                  <c:v>-6.0587906898296523E-3</c:v>
                </c:pt>
                <c:pt idx="20">
                  <c:v>-6.2904403183597149E-3</c:v>
                </c:pt>
                <c:pt idx="21">
                  <c:v>-6.4169483559345514E-3</c:v>
                </c:pt>
                <c:pt idx="22">
                  <c:v>-6.394944618962884E-3</c:v>
                </c:pt>
                <c:pt idx="23">
                  <c:v>-6.3801411353747997E-3</c:v>
                </c:pt>
                <c:pt idx="24">
                  <c:v>-6.4658159546942835E-3</c:v>
                </c:pt>
                <c:pt idx="25">
                  <c:v>-6.6075585907126025E-3</c:v>
                </c:pt>
                <c:pt idx="26">
                  <c:v>-6.6796348837659157E-3</c:v>
                </c:pt>
                <c:pt idx="27">
                  <c:v>-6.6788218670729644E-3</c:v>
                </c:pt>
                <c:pt idx="28">
                  <c:v>-6.6502446920453408E-3</c:v>
                </c:pt>
                <c:pt idx="29">
                  <c:v>-6.6243757908817594E-3</c:v>
                </c:pt>
                <c:pt idx="30">
                  <c:v>-6.5767665657947049E-3</c:v>
                </c:pt>
                <c:pt idx="31">
                  <c:v>-6.8096701685009938E-3</c:v>
                </c:pt>
                <c:pt idx="32">
                  <c:v>-7.1971622894475293E-3</c:v>
                </c:pt>
                <c:pt idx="33">
                  <c:v>-7.6157815534662601E-3</c:v>
                </c:pt>
                <c:pt idx="34">
                  <c:v>-8.0297710489150576E-3</c:v>
                </c:pt>
                <c:pt idx="35">
                  <c:v>-8.2631167377605411E-3</c:v>
                </c:pt>
                <c:pt idx="36">
                  <c:v>-8.3149703511876012E-3</c:v>
                </c:pt>
                <c:pt idx="37">
                  <c:v>-8.0763673592076559E-3</c:v>
                </c:pt>
                <c:pt idx="38">
                  <c:v>-8.027515437203047E-3</c:v>
                </c:pt>
                <c:pt idx="39">
                  <c:v>-8.0496273522069027E-3</c:v>
                </c:pt>
                <c:pt idx="40">
                  <c:v>-8.1100946274012316E-3</c:v>
                </c:pt>
                <c:pt idx="41">
                  <c:v>-8.023574814779522E-3</c:v>
                </c:pt>
                <c:pt idx="42">
                  <c:v>-8.8071258304361858E-3</c:v>
                </c:pt>
                <c:pt idx="43">
                  <c:v>-8.1390786740577516E-3</c:v>
                </c:pt>
                <c:pt idx="44">
                  <c:v>-8.041070386043403E-3</c:v>
                </c:pt>
                <c:pt idx="45">
                  <c:v>-8.3242938218298871E-3</c:v>
                </c:pt>
                <c:pt idx="46">
                  <c:v>-8.4644254783087618E-3</c:v>
                </c:pt>
                <c:pt idx="47">
                  <c:v>-8.30641170911392E-3</c:v>
                </c:pt>
                <c:pt idx="48">
                  <c:v>-8.306127169639162E-3</c:v>
                </c:pt>
                <c:pt idx="49">
                  <c:v>-8.3024483541154753E-3</c:v>
                </c:pt>
                <c:pt idx="50">
                  <c:v>-8.3026659372927129E-3</c:v>
                </c:pt>
                <c:pt idx="51">
                  <c:v>-8.2444647936681902E-3</c:v>
                </c:pt>
                <c:pt idx="52">
                  <c:v>-8.159399032992707E-3</c:v>
                </c:pt>
                <c:pt idx="53">
                  <c:v>-8.0374047147444214E-3</c:v>
                </c:pt>
                <c:pt idx="54">
                  <c:v>-8.0820386346066881E-3</c:v>
                </c:pt>
                <c:pt idx="55">
                  <c:v>-8.169174009516611E-3</c:v>
                </c:pt>
                <c:pt idx="56">
                  <c:v>-8.1507010746914091E-3</c:v>
                </c:pt>
                <c:pt idx="57">
                  <c:v>-8.4110594520189694E-3</c:v>
                </c:pt>
                <c:pt idx="58">
                  <c:v>-8.4149010727093826E-3</c:v>
                </c:pt>
                <c:pt idx="59">
                  <c:v>-8.3699090787961363E-3</c:v>
                </c:pt>
                <c:pt idx="60">
                  <c:v>-8.189195886265821E-3</c:v>
                </c:pt>
                <c:pt idx="61">
                  <c:v>-8.1859424025505882E-3</c:v>
                </c:pt>
                <c:pt idx="62">
                  <c:v>-8.0691983911450257E-3</c:v>
                </c:pt>
                <c:pt idx="63">
                  <c:v>-7.914104490250682E-3</c:v>
                </c:pt>
                <c:pt idx="64">
                  <c:v>-7.9432577805351179E-3</c:v>
                </c:pt>
                <c:pt idx="65">
                  <c:v>-7.9268349055570102E-3</c:v>
                </c:pt>
                <c:pt idx="66">
                  <c:v>-7.95530337881813E-3</c:v>
                </c:pt>
                <c:pt idx="67">
                  <c:v>-8.0952709032231437E-3</c:v>
                </c:pt>
                <c:pt idx="68">
                  <c:v>-8.1083296301121058E-3</c:v>
                </c:pt>
                <c:pt idx="69">
                  <c:v>-8.0704958705692578E-3</c:v>
                </c:pt>
                <c:pt idx="70">
                  <c:v>-8.0289234613766282E-3</c:v>
                </c:pt>
                <c:pt idx="71">
                  <c:v>-8.0810613265462211E-3</c:v>
                </c:pt>
                <c:pt idx="72">
                  <c:v>-7.9481015933146239E-3</c:v>
                </c:pt>
                <c:pt idx="73">
                  <c:v>-8.4943688009367201E-3</c:v>
                </c:pt>
                <c:pt idx="74">
                  <c:v>-8.5476926339370131E-3</c:v>
                </c:pt>
                <c:pt idx="75">
                  <c:v>-8.5967853980830899E-3</c:v>
                </c:pt>
                <c:pt idx="76">
                  <c:v>-8.6091152907932095E-3</c:v>
                </c:pt>
                <c:pt idx="77">
                  <c:v>-8.7952860741105348E-3</c:v>
                </c:pt>
                <c:pt idx="78">
                  <c:v>-8.810257745150922E-3</c:v>
                </c:pt>
                <c:pt idx="79">
                  <c:v>-8.7405429104910736E-3</c:v>
                </c:pt>
                <c:pt idx="80">
                  <c:v>-8.757904880026323E-3</c:v>
                </c:pt>
                <c:pt idx="81">
                  <c:v>-8.7676208136996184E-3</c:v>
                </c:pt>
                <c:pt idx="82">
                  <c:v>-8.8491859325016547E-3</c:v>
                </c:pt>
                <c:pt idx="83">
                  <c:v>-8.9188198891110883E-3</c:v>
                </c:pt>
                <c:pt idx="84">
                  <c:v>-9.0486098878082549E-3</c:v>
                </c:pt>
                <c:pt idx="85">
                  <c:v>-8.2483492318216282E-3</c:v>
                </c:pt>
                <c:pt idx="86">
                  <c:v>-8.2679112673667912E-3</c:v>
                </c:pt>
                <c:pt idx="87">
                  <c:v>-8.2619759112916719E-3</c:v>
                </c:pt>
                <c:pt idx="88">
                  <c:v>-8.2540057209412668E-3</c:v>
                </c:pt>
                <c:pt idx="89">
                  <c:v>-8.0945091091279252E-3</c:v>
                </c:pt>
                <c:pt idx="90">
                  <c:v>-8.3289212709500432E-3</c:v>
                </c:pt>
                <c:pt idx="91">
                  <c:v>-8.3065310481070867E-3</c:v>
                </c:pt>
                <c:pt idx="92">
                  <c:v>-8.4020538048515392E-3</c:v>
                </c:pt>
                <c:pt idx="93">
                  <c:v>-8.2070289508735343E-3</c:v>
                </c:pt>
                <c:pt idx="94">
                  <c:v>-8.0107884424560315E-3</c:v>
                </c:pt>
                <c:pt idx="95">
                  <c:v>-8.0645280792961387E-3</c:v>
                </c:pt>
                <c:pt idx="96">
                  <c:v>-8.029636060278806E-3</c:v>
                </c:pt>
                <c:pt idx="97">
                  <c:v>-7.9928598790170099E-3</c:v>
                </c:pt>
                <c:pt idx="98">
                  <c:v>-7.8649911869000076E-3</c:v>
                </c:pt>
                <c:pt idx="99">
                  <c:v>-7.8960584124585492E-3</c:v>
                </c:pt>
                <c:pt idx="100">
                  <c:v>-7.7379198677082128E-3</c:v>
                </c:pt>
                <c:pt idx="101">
                  <c:v>-7.6727779357529287E-3</c:v>
                </c:pt>
                <c:pt idx="102">
                  <c:v>-7.7462778364034155E-3</c:v>
                </c:pt>
                <c:pt idx="103">
                  <c:v>-7.9200055803927017E-3</c:v>
                </c:pt>
                <c:pt idx="104">
                  <c:v>-7.8913656576327339E-3</c:v>
                </c:pt>
                <c:pt idx="105">
                  <c:v>-7.7422374236393804E-3</c:v>
                </c:pt>
                <c:pt idx="106">
                  <c:v>-7.7228500297789595E-3</c:v>
                </c:pt>
                <c:pt idx="107">
                  <c:v>-7.5530321673198579E-3</c:v>
                </c:pt>
                <c:pt idx="108">
                  <c:v>-7.4621778474908479E-3</c:v>
                </c:pt>
                <c:pt idx="109">
                  <c:v>-7.3915425153020676E-3</c:v>
                </c:pt>
                <c:pt idx="110">
                  <c:v>-7.3814324362936005E-3</c:v>
                </c:pt>
                <c:pt idx="111">
                  <c:v>-7.4380494350857248E-3</c:v>
                </c:pt>
                <c:pt idx="112">
                  <c:v>-7.4419441218307189E-3</c:v>
                </c:pt>
                <c:pt idx="113">
                  <c:v>-7.4778426971728882E-3</c:v>
                </c:pt>
                <c:pt idx="114">
                  <c:v>-7.4823877100340386E-3</c:v>
                </c:pt>
                <c:pt idx="115">
                  <c:v>-8.2221745759286733E-3</c:v>
                </c:pt>
                <c:pt idx="116">
                  <c:v>-8.1019882641082015E-3</c:v>
                </c:pt>
                <c:pt idx="117">
                  <c:v>-8.0726492977186946E-3</c:v>
                </c:pt>
                <c:pt idx="118">
                  <c:v>-8.0937364322110975E-3</c:v>
                </c:pt>
                <c:pt idx="119">
                  <c:v>-8.3731903582149967E-3</c:v>
                </c:pt>
                <c:pt idx="120">
                  <c:v>-8.4316713047018731E-3</c:v>
                </c:pt>
                <c:pt idx="121">
                  <c:v>-8.499820757778144E-3</c:v>
                </c:pt>
                <c:pt idx="122">
                  <c:v>-8.7209695347310809E-3</c:v>
                </c:pt>
                <c:pt idx="123">
                  <c:v>-8.6950305574299159E-3</c:v>
                </c:pt>
                <c:pt idx="124">
                  <c:v>-8.8155457294416678E-3</c:v>
                </c:pt>
                <c:pt idx="125">
                  <c:v>-8.5949465996568233E-3</c:v>
                </c:pt>
                <c:pt idx="126">
                  <c:v>-8.4300015383941933E-3</c:v>
                </c:pt>
                <c:pt idx="127">
                  <c:v>-8.354184619635871E-3</c:v>
                </c:pt>
                <c:pt idx="128">
                  <c:v>-8.4004373985978598E-3</c:v>
                </c:pt>
                <c:pt idx="129">
                  <c:v>-7.9816513425390138E-3</c:v>
                </c:pt>
                <c:pt idx="130">
                  <c:v>-7.97548902482011E-3</c:v>
                </c:pt>
                <c:pt idx="131">
                  <c:v>-8.0673826252946751E-3</c:v>
                </c:pt>
                <c:pt idx="132">
                  <c:v>-8.12463560284616E-3</c:v>
                </c:pt>
                <c:pt idx="133">
                  <c:v>-8.0845506457748635E-3</c:v>
                </c:pt>
                <c:pt idx="134">
                  <c:v>-8.0772245111254727E-3</c:v>
                </c:pt>
                <c:pt idx="135">
                  <c:v>-7.5917126671086995E-3</c:v>
                </c:pt>
                <c:pt idx="136">
                  <c:v>-7.4468264333239931E-3</c:v>
                </c:pt>
                <c:pt idx="137">
                  <c:v>-7.5335658315846777E-3</c:v>
                </c:pt>
                <c:pt idx="138">
                  <c:v>-7.5568673321215786E-3</c:v>
                </c:pt>
                <c:pt idx="139">
                  <c:v>-7.6940953807262168E-3</c:v>
                </c:pt>
                <c:pt idx="140">
                  <c:v>-7.6608576268238802E-3</c:v>
                </c:pt>
                <c:pt idx="141">
                  <c:v>-7.6151532138970558E-3</c:v>
                </c:pt>
                <c:pt idx="142">
                  <c:v>-7.5174045641142806E-3</c:v>
                </c:pt>
                <c:pt idx="143">
                  <c:v>-7.5070526251516789E-3</c:v>
                </c:pt>
                <c:pt idx="144">
                  <c:v>-7.3274414183147531E-3</c:v>
                </c:pt>
                <c:pt idx="145">
                  <c:v>-7.2306475379707207E-3</c:v>
                </c:pt>
                <c:pt idx="146">
                  <c:v>-7.0776443019012801E-3</c:v>
                </c:pt>
                <c:pt idx="147">
                  <c:v>-7.114929404806244E-3</c:v>
                </c:pt>
                <c:pt idx="148">
                  <c:v>-6.9736987060773099E-3</c:v>
                </c:pt>
                <c:pt idx="149">
                  <c:v>-6.9224119463557904E-3</c:v>
                </c:pt>
                <c:pt idx="150">
                  <c:v>-6.852392692910097E-3</c:v>
                </c:pt>
                <c:pt idx="151">
                  <c:v>-6.755938792485045E-3</c:v>
                </c:pt>
                <c:pt idx="152">
                  <c:v>-6.710392789781818E-3</c:v>
                </c:pt>
                <c:pt idx="153">
                  <c:v>-6.9731689915204309E-3</c:v>
                </c:pt>
                <c:pt idx="154">
                  <c:v>-6.9980549547948813E-3</c:v>
                </c:pt>
                <c:pt idx="155">
                  <c:v>-7.1355750697271094E-3</c:v>
                </c:pt>
                <c:pt idx="156">
                  <c:v>-7.2193369462136576E-3</c:v>
                </c:pt>
                <c:pt idx="157">
                  <c:v>-7.2874998543378507E-3</c:v>
                </c:pt>
                <c:pt idx="158">
                  <c:v>-7.2783298357662228E-3</c:v>
                </c:pt>
                <c:pt idx="159">
                  <c:v>-7.4407283277502E-3</c:v>
                </c:pt>
                <c:pt idx="160">
                  <c:v>-7.5154980390525743E-3</c:v>
                </c:pt>
                <c:pt idx="161">
                  <c:v>-7.403670887363583E-3</c:v>
                </c:pt>
                <c:pt idx="162">
                  <c:v>-7.3599612366519887E-3</c:v>
                </c:pt>
                <c:pt idx="163">
                  <c:v>-7.3534936908476352E-3</c:v>
                </c:pt>
                <c:pt idx="164">
                  <c:v>-7.3435766658434968E-3</c:v>
                </c:pt>
                <c:pt idx="165">
                  <c:v>-8.1464163432247404E-3</c:v>
                </c:pt>
                <c:pt idx="166">
                  <c:v>-7.9929603168840003E-3</c:v>
                </c:pt>
                <c:pt idx="167">
                  <c:v>-5.9074066438921822E-3</c:v>
                </c:pt>
                <c:pt idx="168">
                  <c:v>-5.8477338705749315E-3</c:v>
                </c:pt>
                <c:pt idx="169">
                  <c:v>-5.8775336276328752E-3</c:v>
                </c:pt>
                <c:pt idx="170">
                  <c:v>-5.8518616328014864E-3</c:v>
                </c:pt>
                <c:pt idx="171">
                  <c:v>-5.8516513728801454E-3</c:v>
                </c:pt>
                <c:pt idx="172">
                  <c:v>-5.8741977575265869E-3</c:v>
                </c:pt>
                <c:pt idx="173">
                  <c:v>-5.8325413963470968E-3</c:v>
                </c:pt>
                <c:pt idx="174">
                  <c:v>-5.8842369799215416E-3</c:v>
                </c:pt>
                <c:pt idx="175">
                  <c:v>-5.8359919380195349E-3</c:v>
                </c:pt>
                <c:pt idx="176">
                  <c:v>-6.0060058069680419E-3</c:v>
                </c:pt>
                <c:pt idx="177">
                  <c:v>-5.9735578479785372E-3</c:v>
                </c:pt>
                <c:pt idx="178">
                  <c:v>-6.0184324969301903E-3</c:v>
                </c:pt>
                <c:pt idx="179">
                  <c:v>-6.0354812196702634E-3</c:v>
                </c:pt>
                <c:pt idx="180">
                  <c:v>-5.0554602590625435E-3</c:v>
                </c:pt>
                <c:pt idx="181">
                  <c:v>-5.1058814034838276E-3</c:v>
                </c:pt>
                <c:pt idx="182">
                  <c:v>-5.1823471316923796E-3</c:v>
                </c:pt>
                <c:pt idx="183">
                  <c:v>-5.3060782044567923E-3</c:v>
                </c:pt>
                <c:pt idx="184">
                  <c:v>-5.2719417636058518E-3</c:v>
                </c:pt>
                <c:pt idx="185">
                  <c:v>-5.2660917886610467E-3</c:v>
                </c:pt>
                <c:pt idx="186">
                  <c:v>-5.3233970973292234E-3</c:v>
                </c:pt>
                <c:pt idx="187">
                  <c:v>-5.3661789574380994E-3</c:v>
                </c:pt>
                <c:pt idx="188">
                  <c:v>-5.5013388041418509E-3</c:v>
                </c:pt>
                <c:pt idx="189">
                  <c:v>-5.6350861777693471E-3</c:v>
                </c:pt>
                <c:pt idx="190">
                  <c:v>-5.6921441865699935E-3</c:v>
                </c:pt>
                <c:pt idx="191">
                  <c:v>-5.6501483946514823E-3</c:v>
                </c:pt>
                <c:pt idx="192">
                  <c:v>-5.7097748517517194E-3</c:v>
                </c:pt>
                <c:pt idx="193">
                  <c:v>-5.5638433616556002E-3</c:v>
                </c:pt>
                <c:pt idx="194">
                  <c:v>-5.4536005617761667E-3</c:v>
                </c:pt>
                <c:pt idx="195">
                  <c:v>-5.6248568389732816E-3</c:v>
                </c:pt>
                <c:pt idx="196">
                  <c:v>-5.648248090414751E-3</c:v>
                </c:pt>
                <c:pt idx="197">
                  <c:v>-7.1851047621392062E-3</c:v>
                </c:pt>
                <c:pt idx="198">
                  <c:v>-7.2544288176224266E-3</c:v>
                </c:pt>
                <c:pt idx="199">
                  <c:v>-7.1930346381487717E-3</c:v>
                </c:pt>
                <c:pt idx="200">
                  <c:v>-7.2941398080770955E-3</c:v>
                </c:pt>
                <c:pt idx="201">
                  <c:v>-7.2547107210390984E-3</c:v>
                </c:pt>
                <c:pt idx="202">
                  <c:v>-7.1900571827594479E-3</c:v>
                </c:pt>
                <c:pt idx="203">
                  <c:v>-6.4784837422774749E-3</c:v>
                </c:pt>
                <c:pt idx="204">
                  <c:v>-6.4827182151891609E-3</c:v>
                </c:pt>
                <c:pt idx="205">
                  <c:v>-6.6725382492078154E-3</c:v>
                </c:pt>
                <c:pt idx="206">
                  <c:v>-6.7202309329756123E-3</c:v>
                </c:pt>
                <c:pt idx="207">
                  <c:v>-6.5486832165715936E-3</c:v>
                </c:pt>
                <c:pt idx="208">
                  <c:v>-6.4910722671112026E-3</c:v>
                </c:pt>
                <c:pt idx="209">
                  <c:v>-6.4728018392339048E-3</c:v>
                </c:pt>
                <c:pt idx="210">
                  <c:v>-7.4944108242772298E-3</c:v>
                </c:pt>
                <c:pt idx="211">
                  <c:v>-6.5490172724799161E-3</c:v>
                </c:pt>
                <c:pt idx="212">
                  <c:v>-6.5372243317107608E-3</c:v>
                </c:pt>
                <c:pt idx="213">
                  <c:v>-6.1152646851212024E-3</c:v>
                </c:pt>
                <c:pt idx="214">
                  <c:v>-6.1243186398828933E-3</c:v>
                </c:pt>
                <c:pt idx="215">
                  <c:v>-6.1306537318112043E-3</c:v>
                </c:pt>
                <c:pt idx="216">
                  <c:v>-6.1645359427706633E-3</c:v>
                </c:pt>
                <c:pt idx="217">
                  <c:v>-6.0867473113939922E-3</c:v>
                </c:pt>
                <c:pt idx="218">
                  <c:v>-6.0629680097177225E-3</c:v>
                </c:pt>
                <c:pt idx="219">
                  <c:v>-5.8745900453981278E-3</c:v>
                </c:pt>
                <c:pt idx="220">
                  <c:v>-5.6397529738036701E-3</c:v>
                </c:pt>
                <c:pt idx="221">
                  <c:v>-5.5820991334220365E-3</c:v>
                </c:pt>
                <c:pt idx="222">
                  <c:v>-5.5516054307096288E-3</c:v>
                </c:pt>
                <c:pt idx="223">
                  <c:v>-5.5049195071805038E-3</c:v>
                </c:pt>
                <c:pt idx="224">
                  <c:v>-5.4829921430135211E-3</c:v>
                </c:pt>
                <c:pt idx="225">
                  <c:v>-5.4371590578745519E-3</c:v>
                </c:pt>
                <c:pt idx="226">
                  <c:v>-5.4253266790297936E-3</c:v>
                </c:pt>
                <c:pt idx="227">
                  <c:v>-5.4463649143178189E-3</c:v>
                </c:pt>
                <c:pt idx="228">
                  <c:v>-5.4093152189192625E-3</c:v>
                </c:pt>
                <c:pt idx="229">
                  <c:v>-5.4482146260233701E-3</c:v>
                </c:pt>
                <c:pt idx="230">
                  <c:v>-5.4545044784740935E-3</c:v>
                </c:pt>
                <c:pt idx="231">
                  <c:v>-5.3123638925332284E-3</c:v>
                </c:pt>
                <c:pt idx="232">
                  <c:v>-5.3944254611616501E-3</c:v>
                </c:pt>
                <c:pt idx="233">
                  <c:v>-5.8274383277117066E-3</c:v>
                </c:pt>
                <c:pt idx="234">
                  <c:v>-5.804228606510046E-3</c:v>
                </c:pt>
                <c:pt idx="235">
                  <c:v>-5.8104659225965008E-3</c:v>
                </c:pt>
                <c:pt idx="236">
                  <c:v>-5.9913821725649345E-3</c:v>
                </c:pt>
                <c:pt idx="237">
                  <c:v>-6.0517312272815428E-3</c:v>
                </c:pt>
                <c:pt idx="238">
                  <c:v>-6.0880469745694197E-3</c:v>
                </c:pt>
                <c:pt idx="239">
                  <c:v>-6.054781894287941E-3</c:v>
                </c:pt>
                <c:pt idx="240">
                  <c:v>-6.0890285407300907E-3</c:v>
                </c:pt>
                <c:pt idx="241">
                  <c:v>-6.7993480851132326E-3</c:v>
                </c:pt>
                <c:pt idx="242">
                  <c:v>-6.789140009317257E-3</c:v>
                </c:pt>
                <c:pt idx="243">
                  <c:v>-7.1671591695746818E-3</c:v>
                </c:pt>
                <c:pt idx="244">
                  <c:v>-7.1528663380923925E-3</c:v>
                </c:pt>
                <c:pt idx="245">
                  <c:v>-7.1511441747381631E-3</c:v>
                </c:pt>
                <c:pt idx="246">
                  <c:v>-7.1328170412140613E-3</c:v>
                </c:pt>
                <c:pt idx="247">
                  <c:v>-7.2549163996521154E-3</c:v>
                </c:pt>
                <c:pt idx="248">
                  <c:v>-7.2386634170427148E-3</c:v>
                </c:pt>
                <c:pt idx="249">
                  <c:v>-7.4397638431204756E-3</c:v>
                </c:pt>
                <c:pt idx="250">
                  <c:v>-7.5952002619655264E-3</c:v>
                </c:pt>
                <c:pt idx="251">
                  <c:v>-7.6385168179152552E-3</c:v>
                </c:pt>
                <c:pt idx="252">
                  <c:v>-7.9420213544464952E-3</c:v>
                </c:pt>
                <c:pt idx="253">
                  <c:v>-8.0967947865755556E-3</c:v>
                </c:pt>
                <c:pt idx="254">
                  <c:v>-8.043662274890874E-3</c:v>
                </c:pt>
                <c:pt idx="255">
                  <c:v>-7.8844975092475563E-3</c:v>
                </c:pt>
                <c:pt idx="256">
                  <c:v>-7.8395692542472736E-3</c:v>
                </c:pt>
                <c:pt idx="257">
                  <c:v>-7.8591960753016769E-3</c:v>
                </c:pt>
                <c:pt idx="258">
                  <c:v>-7.8842090693943077E-3</c:v>
                </c:pt>
                <c:pt idx="259">
                  <c:v>-7.8953804650889765E-3</c:v>
                </c:pt>
                <c:pt idx="260">
                  <c:v>-8.1932192113206501E-3</c:v>
                </c:pt>
                <c:pt idx="261">
                  <c:v>-8.3992111114627732E-3</c:v>
                </c:pt>
                <c:pt idx="262">
                  <c:v>-8.3865953780063538E-3</c:v>
                </c:pt>
                <c:pt idx="263">
                  <c:v>-8.593365327509225E-3</c:v>
                </c:pt>
                <c:pt idx="264">
                  <c:v>-8.5938326991673065E-3</c:v>
                </c:pt>
                <c:pt idx="265">
                  <c:v>-8.5820089142552812E-3</c:v>
                </c:pt>
                <c:pt idx="266">
                  <c:v>-8.4926531739169513E-3</c:v>
                </c:pt>
                <c:pt idx="267">
                  <c:v>-8.7203143648274736E-3</c:v>
                </c:pt>
                <c:pt idx="268">
                  <c:v>-8.9295066930089421E-3</c:v>
                </c:pt>
                <c:pt idx="269">
                  <c:v>-9.2413346471926852E-3</c:v>
                </c:pt>
                <c:pt idx="270">
                  <c:v>-9.3096947176715631E-3</c:v>
                </c:pt>
                <c:pt idx="271">
                  <c:v>-9.3457753697582663E-3</c:v>
                </c:pt>
                <c:pt idx="272">
                  <c:v>-9.3518504920233544E-3</c:v>
                </c:pt>
                <c:pt idx="273">
                  <c:v>-8.9219526225815804E-3</c:v>
                </c:pt>
                <c:pt idx="274">
                  <c:v>-8.8186796673415876E-3</c:v>
                </c:pt>
                <c:pt idx="275">
                  <c:v>-8.8319182159136093E-3</c:v>
                </c:pt>
                <c:pt idx="276">
                  <c:v>-8.760315009846472E-3</c:v>
                </c:pt>
                <c:pt idx="277">
                  <c:v>-8.7387646421658582E-3</c:v>
                </c:pt>
                <c:pt idx="278">
                  <c:v>-8.5159036907930426E-3</c:v>
                </c:pt>
                <c:pt idx="279">
                  <c:v>-8.8287718584078422E-3</c:v>
                </c:pt>
                <c:pt idx="280">
                  <c:v>-8.7529582337353452E-3</c:v>
                </c:pt>
                <c:pt idx="281">
                  <c:v>-8.5594517503985428E-3</c:v>
                </c:pt>
                <c:pt idx="282">
                  <c:v>-8.4650922983085467E-3</c:v>
                </c:pt>
                <c:pt idx="283">
                  <c:v>-8.303083672023516E-3</c:v>
                </c:pt>
                <c:pt idx="284">
                  <c:v>-8.3405609495784891E-3</c:v>
                </c:pt>
                <c:pt idx="285">
                  <c:v>-8.404804590633223E-3</c:v>
                </c:pt>
                <c:pt idx="286">
                  <c:v>-8.3850722933429597E-3</c:v>
                </c:pt>
                <c:pt idx="287">
                  <c:v>-8.4774392138448305E-3</c:v>
                </c:pt>
                <c:pt idx="288">
                  <c:v>-8.5008046731091542E-3</c:v>
                </c:pt>
                <c:pt idx="289">
                  <c:v>-8.4836286398965368E-3</c:v>
                </c:pt>
                <c:pt idx="290">
                  <c:v>-8.3713359984376526E-3</c:v>
                </c:pt>
                <c:pt idx="291">
                  <c:v>-8.1543779311189744E-3</c:v>
                </c:pt>
                <c:pt idx="292">
                  <c:v>-8.1547412234168788E-3</c:v>
                </c:pt>
                <c:pt idx="293">
                  <c:v>-8.1244622927447441E-3</c:v>
                </c:pt>
                <c:pt idx="294">
                  <c:v>-8.1182854229719537E-3</c:v>
                </c:pt>
                <c:pt idx="295">
                  <c:v>-8.1203457521998416E-3</c:v>
                </c:pt>
                <c:pt idx="296">
                  <c:v>-8.1935372484093615E-3</c:v>
                </c:pt>
                <c:pt idx="297">
                  <c:v>-8.0901131218834733E-3</c:v>
                </c:pt>
                <c:pt idx="298">
                  <c:v>-7.9191667347179879E-3</c:v>
                </c:pt>
                <c:pt idx="299">
                  <c:v>-7.9357764894695329E-3</c:v>
                </c:pt>
                <c:pt idx="300">
                  <c:v>-7.9336703743612645E-3</c:v>
                </c:pt>
                <c:pt idx="301">
                  <c:v>-7.7899973608161546E-3</c:v>
                </c:pt>
                <c:pt idx="302">
                  <c:v>-7.7385444991549309E-3</c:v>
                </c:pt>
                <c:pt idx="303">
                  <c:v>-7.9183219881386047E-3</c:v>
                </c:pt>
                <c:pt idx="304">
                  <c:v>-8.0642922455807561E-3</c:v>
                </c:pt>
                <c:pt idx="305">
                  <c:v>-7.9352887990997642E-3</c:v>
                </c:pt>
                <c:pt idx="306">
                  <c:v>-7.9378991901725773E-3</c:v>
                </c:pt>
                <c:pt idx="307">
                  <c:v>-7.9451748160059826E-3</c:v>
                </c:pt>
                <c:pt idx="308">
                  <c:v>-8.0540502430364314E-3</c:v>
                </c:pt>
                <c:pt idx="309">
                  <c:v>-8.0865207439810918E-3</c:v>
                </c:pt>
                <c:pt idx="310">
                  <c:v>-8.2177822035565326E-3</c:v>
                </c:pt>
                <c:pt idx="311">
                  <c:v>-8.0677415748106242E-3</c:v>
                </c:pt>
                <c:pt idx="312">
                  <c:v>-8.2800260968871955E-3</c:v>
                </c:pt>
                <c:pt idx="313">
                  <c:v>-8.3337869008236198E-3</c:v>
                </c:pt>
                <c:pt idx="314">
                  <c:v>-8.4012025180026095E-3</c:v>
                </c:pt>
                <c:pt idx="315">
                  <c:v>-8.4329062264541701E-3</c:v>
                </c:pt>
                <c:pt idx="316">
                  <c:v>-8.1233943318029939E-3</c:v>
                </c:pt>
                <c:pt idx="317">
                  <c:v>-8.0891204954104227E-3</c:v>
                </c:pt>
                <c:pt idx="318">
                  <c:v>-8.0564314096403088E-3</c:v>
                </c:pt>
                <c:pt idx="319">
                  <c:v>-8.0123434827683599E-3</c:v>
                </c:pt>
                <c:pt idx="320">
                  <c:v>-8.0889566389557212E-3</c:v>
                </c:pt>
                <c:pt idx="321">
                  <c:v>-7.4830851511211143E-3</c:v>
                </c:pt>
                <c:pt idx="322">
                  <c:v>-7.1358004204736371E-3</c:v>
                </c:pt>
                <c:pt idx="323">
                  <c:v>-6.6184805219263992E-3</c:v>
                </c:pt>
                <c:pt idx="324">
                  <c:v>-6.2611924175161532E-3</c:v>
                </c:pt>
                <c:pt idx="325">
                  <c:v>-5.5139892812915408E-3</c:v>
                </c:pt>
                <c:pt idx="326">
                  <c:v>-5.3825886095756883E-3</c:v>
                </c:pt>
                <c:pt idx="327">
                  <c:v>-5.4515465515642802E-3</c:v>
                </c:pt>
                <c:pt idx="328">
                  <c:v>-5.2194434373092355E-3</c:v>
                </c:pt>
                <c:pt idx="329">
                  <c:v>-4.994035926543525E-3</c:v>
                </c:pt>
                <c:pt idx="330">
                  <c:v>-4.9124282037936416E-3</c:v>
                </c:pt>
                <c:pt idx="331">
                  <c:v>-4.7788261085232701E-3</c:v>
                </c:pt>
                <c:pt idx="332">
                  <c:v>-4.8133059484004141E-3</c:v>
                </c:pt>
                <c:pt idx="333">
                  <c:v>-4.7786188094701924E-3</c:v>
                </c:pt>
                <c:pt idx="334">
                  <c:v>-4.0980916777006472E-3</c:v>
                </c:pt>
                <c:pt idx="335">
                  <c:v>-4.1472103607619187E-3</c:v>
                </c:pt>
                <c:pt idx="336">
                  <c:v>-3.9122589219038363E-3</c:v>
                </c:pt>
                <c:pt idx="337">
                  <c:v>-3.6857335073538239E-3</c:v>
                </c:pt>
                <c:pt idx="338">
                  <c:v>-3.5926820668329452E-3</c:v>
                </c:pt>
                <c:pt idx="339">
                  <c:v>-3.5270336579074808E-3</c:v>
                </c:pt>
                <c:pt idx="340">
                  <c:v>-3.5336155411974587E-3</c:v>
                </c:pt>
                <c:pt idx="341">
                  <c:v>-3.4198365134847242E-3</c:v>
                </c:pt>
                <c:pt idx="342">
                  <c:v>-3.2389932077555098E-3</c:v>
                </c:pt>
                <c:pt idx="343">
                  <c:v>-3.3320063016404888E-3</c:v>
                </c:pt>
                <c:pt idx="344">
                  <c:v>-3.4887931520080837E-3</c:v>
                </c:pt>
                <c:pt idx="345">
                  <c:v>-3.3660617750822016E-3</c:v>
                </c:pt>
                <c:pt idx="346">
                  <c:v>-3.5507980368824823E-3</c:v>
                </c:pt>
                <c:pt idx="347">
                  <c:v>-3.7131695398525694E-3</c:v>
                </c:pt>
                <c:pt idx="348">
                  <c:v>-3.772801687559852E-3</c:v>
                </c:pt>
                <c:pt idx="349">
                  <c:v>-3.9461796839923031E-3</c:v>
                </c:pt>
                <c:pt idx="350">
                  <c:v>-4.8757194249456938E-3</c:v>
                </c:pt>
                <c:pt idx="351">
                  <c:v>-4.8862652522555349E-3</c:v>
                </c:pt>
                <c:pt idx="352">
                  <c:v>-4.9099262439161271E-3</c:v>
                </c:pt>
                <c:pt idx="353">
                  <c:v>-5.0396286577694543E-3</c:v>
                </c:pt>
                <c:pt idx="354">
                  <c:v>-5.1402326289036546E-3</c:v>
                </c:pt>
                <c:pt idx="355">
                  <c:v>-5.4243292684332057E-3</c:v>
                </c:pt>
                <c:pt idx="356">
                  <c:v>-5.3254734319871265E-3</c:v>
                </c:pt>
                <c:pt idx="357">
                  <c:v>-5.2608679436314905E-3</c:v>
                </c:pt>
                <c:pt idx="358">
                  <c:v>-5.2948142900256859E-3</c:v>
                </c:pt>
                <c:pt idx="359">
                  <c:v>-5.4342557653162971E-3</c:v>
                </c:pt>
                <c:pt idx="360">
                  <c:v>-5.4381275038833023E-3</c:v>
                </c:pt>
                <c:pt idx="361">
                  <c:v>-5.5711178498115532E-3</c:v>
                </c:pt>
                <c:pt idx="362">
                  <c:v>-5.5715194669572277E-3</c:v>
                </c:pt>
                <c:pt idx="363">
                  <c:v>-5.4478712322080635E-3</c:v>
                </c:pt>
                <c:pt idx="364">
                  <c:v>-5.8841242339051801E-3</c:v>
                </c:pt>
                <c:pt idx="365">
                  <c:v>-5.8475464223578114E-3</c:v>
                </c:pt>
                <c:pt idx="366">
                  <c:v>-6.2716826218180014E-3</c:v>
                </c:pt>
                <c:pt idx="367">
                  <c:v>-6.2719835349147966E-3</c:v>
                </c:pt>
                <c:pt idx="368">
                  <c:v>-6.343045551338319E-3</c:v>
                </c:pt>
                <c:pt idx="369">
                  <c:v>-6.6345499489138503E-3</c:v>
                </c:pt>
                <c:pt idx="370">
                  <c:v>-6.6340331861335028E-3</c:v>
                </c:pt>
                <c:pt idx="371">
                  <c:v>-6.6092889566416787E-3</c:v>
                </c:pt>
                <c:pt idx="372">
                  <c:v>-6.5319995805944607E-3</c:v>
                </c:pt>
                <c:pt idx="373">
                  <c:v>-6.5286927209510359E-3</c:v>
                </c:pt>
                <c:pt idx="374">
                  <c:v>-6.4758855604169401E-3</c:v>
                </c:pt>
                <c:pt idx="375">
                  <c:v>-6.9924120652878879E-3</c:v>
                </c:pt>
                <c:pt idx="376">
                  <c:v>-6.9048097325856671E-3</c:v>
                </c:pt>
                <c:pt idx="377">
                  <c:v>-6.8603439052308274E-3</c:v>
                </c:pt>
                <c:pt idx="378">
                  <c:v>-7.0604467897151585E-3</c:v>
                </c:pt>
                <c:pt idx="379">
                  <c:v>-7.0793453765904575E-3</c:v>
                </c:pt>
                <c:pt idx="380">
                  <c:v>-7.0541458897737629E-3</c:v>
                </c:pt>
                <c:pt idx="381">
                  <c:v>-7.0497069473707905E-3</c:v>
                </c:pt>
                <c:pt idx="382">
                  <c:v>-7.0558512932479183E-3</c:v>
                </c:pt>
                <c:pt idx="383">
                  <c:v>-7.0816615070894593E-3</c:v>
                </c:pt>
                <c:pt idx="384">
                  <c:v>-7.0039121467370792E-3</c:v>
                </c:pt>
                <c:pt idx="385">
                  <c:v>-7.0207633561057458E-3</c:v>
                </c:pt>
                <c:pt idx="386">
                  <c:v>-6.9843412514665002E-3</c:v>
                </c:pt>
                <c:pt idx="387">
                  <c:v>-6.7078249924645188E-3</c:v>
                </c:pt>
                <c:pt idx="388">
                  <c:v>-6.8998516131211548E-3</c:v>
                </c:pt>
                <c:pt idx="389">
                  <c:v>-6.9420173051928033E-3</c:v>
                </c:pt>
                <c:pt idx="390">
                  <c:v>-6.8571265963207374E-3</c:v>
                </c:pt>
                <c:pt idx="391">
                  <c:v>-6.2084533686825559E-3</c:v>
                </c:pt>
                <c:pt idx="392">
                  <c:v>-5.8060887080649626E-3</c:v>
                </c:pt>
                <c:pt idx="393">
                  <c:v>-5.6597372600149078E-3</c:v>
                </c:pt>
                <c:pt idx="394">
                  <c:v>-5.5964914749790668E-3</c:v>
                </c:pt>
                <c:pt idx="395">
                  <c:v>-5.5751259228275967E-3</c:v>
                </c:pt>
                <c:pt idx="396">
                  <c:v>-5.4714628684202618E-3</c:v>
                </c:pt>
                <c:pt idx="397">
                  <c:v>-5.4601707626027928E-3</c:v>
                </c:pt>
                <c:pt idx="398">
                  <c:v>-5.6640345540015583E-3</c:v>
                </c:pt>
                <c:pt idx="399">
                  <c:v>-5.6058521848857045E-3</c:v>
                </c:pt>
                <c:pt idx="400">
                  <c:v>-5.5973918527890141E-3</c:v>
                </c:pt>
                <c:pt idx="401">
                  <c:v>-5.7174189627831364E-3</c:v>
                </c:pt>
                <c:pt idx="402">
                  <c:v>-6.0320640714452388E-3</c:v>
                </c:pt>
                <c:pt idx="403">
                  <c:v>-6.0499624738910894E-3</c:v>
                </c:pt>
                <c:pt idx="404">
                  <c:v>-6.0838096088623771E-3</c:v>
                </c:pt>
                <c:pt idx="405">
                  <c:v>-6.3047170495579641E-3</c:v>
                </c:pt>
                <c:pt idx="406">
                  <c:v>-6.5243644711137872E-3</c:v>
                </c:pt>
                <c:pt idx="407">
                  <c:v>-6.3084301343343096E-3</c:v>
                </c:pt>
                <c:pt idx="408">
                  <c:v>-6.3275061150343858E-3</c:v>
                </c:pt>
                <c:pt idx="409">
                  <c:v>-6.4831370194006139E-3</c:v>
                </c:pt>
                <c:pt idx="410">
                  <c:v>-6.5346463640638223E-3</c:v>
                </c:pt>
                <c:pt idx="411">
                  <c:v>-6.2231453085391407E-3</c:v>
                </c:pt>
                <c:pt idx="412">
                  <c:v>-6.2397527157340557E-3</c:v>
                </c:pt>
                <c:pt idx="413">
                  <c:v>-6.437177181829257E-3</c:v>
                </c:pt>
                <c:pt idx="414">
                  <c:v>-6.1378435183741427E-3</c:v>
                </c:pt>
                <c:pt idx="415">
                  <c:v>-6.2370017330450949E-3</c:v>
                </c:pt>
                <c:pt idx="416">
                  <c:v>-6.4565772568518599E-3</c:v>
                </c:pt>
                <c:pt idx="417">
                  <c:v>-6.9850143450151609E-3</c:v>
                </c:pt>
                <c:pt idx="418">
                  <c:v>-7.1214837834121031E-3</c:v>
                </c:pt>
                <c:pt idx="419">
                  <c:v>-7.3291406317511623E-3</c:v>
                </c:pt>
                <c:pt idx="420">
                  <c:v>-7.9034017298015378E-3</c:v>
                </c:pt>
                <c:pt idx="421">
                  <c:v>-7.8427589204009083E-3</c:v>
                </c:pt>
                <c:pt idx="422">
                  <c:v>-7.6209945422896757E-3</c:v>
                </c:pt>
                <c:pt idx="423">
                  <c:v>-7.8077346030814921E-3</c:v>
                </c:pt>
                <c:pt idx="424">
                  <c:v>-7.8164603082368674E-3</c:v>
                </c:pt>
                <c:pt idx="425">
                  <c:v>-7.8477973940251633E-3</c:v>
                </c:pt>
                <c:pt idx="426">
                  <c:v>-7.8527317784435127E-3</c:v>
                </c:pt>
                <c:pt idx="427">
                  <c:v>-7.9259554810150873E-3</c:v>
                </c:pt>
                <c:pt idx="428">
                  <c:v>-7.988696876943157E-3</c:v>
                </c:pt>
                <c:pt idx="429">
                  <c:v>-8.0195262468835543E-3</c:v>
                </c:pt>
                <c:pt idx="430">
                  <c:v>-7.8020394508672075E-3</c:v>
                </c:pt>
                <c:pt idx="431">
                  <c:v>-7.7966587699253619E-3</c:v>
                </c:pt>
                <c:pt idx="432">
                  <c:v>-7.7919078326235151E-3</c:v>
                </c:pt>
                <c:pt idx="433">
                  <c:v>-7.7837336405663579E-3</c:v>
                </c:pt>
                <c:pt idx="434">
                  <c:v>-7.8043005124733243E-3</c:v>
                </c:pt>
                <c:pt idx="435">
                  <c:v>-7.2864688143522236E-3</c:v>
                </c:pt>
                <c:pt idx="436">
                  <c:v>-7.287300189979206E-3</c:v>
                </c:pt>
                <c:pt idx="437">
                  <c:v>-7.5644633231352889E-3</c:v>
                </c:pt>
                <c:pt idx="438">
                  <c:v>-6.4585487833469764E-3</c:v>
                </c:pt>
                <c:pt idx="439">
                  <c:v>-6.4520256372507774E-3</c:v>
                </c:pt>
                <c:pt idx="440">
                  <c:v>-6.6154374279370183E-3</c:v>
                </c:pt>
                <c:pt idx="441">
                  <c:v>-6.8009679114521687E-3</c:v>
                </c:pt>
                <c:pt idx="442">
                  <c:v>-6.9667425185020995E-3</c:v>
                </c:pt>
                <c:pt idx="443">
                  <c:v>-6.7832475445428987E-3</c:v>
                </c:pt>
                <c:pt idx="444">
                  <c:v>-6.9871002088516508E-3</c:v>
                </c:pt>
                <c:pt idx="445">
                  <c:v>-6.9887423162332298E-3</c:v>
                </c:pt>
                <c:pt idx="446">
                  <c:v>-6.8237987266646285E-3</c:v>
                </c:pt>
                <c:pt idx="447">
                  <c:v>-6.8833095671726845E-3</c:v>
                </c:pt>
                <c:pt idx="448">
                  <c:v>-6.8498373096708186E-3</c:v>
                </c:pt>
                <c:pt idx="449">
                  <c:v>-6.8139833606404134E-3</c:v>
                </c:pt>
                <c:pt idx="450">
                  <c:v>-6.8047619242427217E-3</c:v>
                </c:pt>
                <c:pt idx="451">
                  <c:v>-6.9751489173137471E-3</c:v>
                </c:pt>
                <c:pt idx="452">
                  <c:v>-7.1523521559849219E-3</c:v>
                </c:pt>
                <c:pt idx="453">
                  <c:v>-7.0865066778542304E-3</c:v>
                </c:pt>
                <c:pt idx="454">
                  <c:v>-6.5584622221201662E-3</c:v>
                </c:pt>
                <c:pt idx="455">
                  <c:v>-6.5016515831475006E-3</c:v>
                </c:pt>
                <c:pt idx="456">
                  <c:v>-6.4864001928823601E-3</c:v>
                </c:pt>
                <c:pt idx="457">
                  <c:v>-6.470928640538492E-3</c:v>
                </c:pt>
                <c:pt idx="458">
                  <c:v>-6.3970121705507633E-3</c:v>
                </c:pt>
                <c:pt idx="459">
                  <c:v>-6.330276195411242E-3</c:v>
                </c:pt>
                <c:pt idx="460">
                  <c:v>-6.3219214645432193E-3</c:v>
                </c:pt>
                <c:pt idx="461">
                  <c:v>-6.2574403121751065E-3</c:v>
                </c:pt>
                <c:pt idx="462">
                  <c:v>-6.2822030105506863E-3</c:v>
                </c:pt>
                <c:pt idx="463">
                  <c:v>-6.3615156580337957E-3</c:v>
                </c:pt>
                <c:pt idx="464">
                  <c:v>-6.3840660284167298E-3</c:v>
                </c:pt>
                <c:pt idx="465">
                  <c:v>-6.725647512825411E-3</c:v>
                </c:pt>
                <c:pt idx="466">
                  <c:v>-6.5664344262467925E-3</c:v>
                </c:pt>
                <c:pt idx="467">
                  <c:v>-6.3444618177097021E-3</c:v>
                </c:pt>
                <c:pt idx="468">
                  <c:v>-7.2821675017850094E-3</c:v>
                </c:pt>
                <c:pt idx="469">
                  <c:v>-7.1086117764100048E-3</c:v>
                </c:pt>
                <c:pt idx="470">
                  <c:v>-6.9973309243018941E-3</c:v>
                </c:pt>
                <c:pt idx="471">
                  <c:v>-7.0604341088273057E-3</c:v>
                </c:pt>
                <c:pt idx="472">
                  <c:v>-7.0500982734027053E-3</c:v>
                </c:pt>
                <c:pt idx="473">
                  <c:v>-7.2066167815528007E-3</c:v>
                </c:pt>
                <c:pt idx="474">
                  <c:v>-7.15897838407447E-3</c:v>
                </c:pt>
                <c:pt idx="475">
                  <c:v>-7.0093943655913432E-3</c:v>
                </c:pt>
                <c:pt idx="476">
                  <c:v>-7.1501172048825971E-3</c:v>
                </c:pt>
                <c:pt idx="477">
                  <c:v>-7.0314800708784634E-3</c:v>
                </c:pt>
                <c:pt idx="478">
                  <c:v>-7.0279769162113811E-3</c:v>
                </c:pt>
                <c:pt idx="479">
                  <c:v>-6.4133655171683549E-3</c:v>
                </c:pt>
                <c:pt idx="480">
                  <c:v>-6.3510263592232831E-3</c:v>
                </c:pt>
                <c:pt idx="481">
                  <c:v>-6.3136216405902928E-3</c:v>
                </c:pt>
                <c:pt idx="482">
                  <c:v>-6.3079253218412323E-3</c:v>
                </c:pt>
                <c:pt idx="483">
                  <c:v>-6.2734845118578263E-3</c:v>
                </c:pt>
                <c:pt idx="484">
                  <c:v>-6.9914465442840312E-3</c:v>
                </c:pt>
                <c:pt idx="485">
                  <c:v>-6.9370021384053994E-3</c:v>
                </c:pt>
                <c:pt idx="486">
                  <c:v>-6.9691324267089367E-3</c:v>
                </c:pt>
                <c:pt idx="487">
                  <c:v>-6.8392555579835524E-3</c:v>
                </c:pt>
                <c:pt idx="488">
                  <c:v>-6.9180765287502046E-3</c:v>
                </c:pt>
                <c:pt idx="489">
                  <c:v>-6.9806480990876251E-3</c:v>
                </c:pt>
                <c:pt idx="490">
                  <c:v>-6.9085585969421151E-3</c:v>
                </c:pt>
                <c:pt idx="491">
                  <c:v>-6.9418300625202533E-3</c:v>
                </c:pt>
                <c:pt idx="492">
                  <c:v>-7.0479261046735471E-3</c:v>
                </c:pt>
                <c:pt idx="493">
                  <c:v>-6.2007121990066954E-3</c:v>
                </c:pt>
                <c:pt idx="494">
                  <c:v>-6.0757153009471801E-3</c:v>
                </c:pt>
                <c:pt idx="495">
                  <c:v>-6.0056832574877069E-3</c:v>
                </c:pt>
                <c:pt idx="496">
                  <c:v>-5.825079041359895E-3</c:v>
                </c:pt>
                <c:pt idx="497">
                  <c:v>-5.791846429677068E-3</c:v>
                </c:pt>
                <c:pt idx="498">
                  <c:v>-5.9801235827328589E-3</c:v>
                </c:pt>
                <c:pt idx="499">
                  <c:v>-6.1930698064984243E-3</c:v>
                </c:pt>
                <c:pt idx="500">
                  <c:v>-6.2182566419455246E-3</c:v>
                </c:pt>
                <c:pt idx="501">
                  <c:v>-6.2223686447453568E-3</c:v>
                </c:pt>
                <c:pt idx="502">
                  <c:v>-6.0811063269865335E-3</c:v>
                </c:pt>
                <c:pt idx="503">
                  <c:v>-5.9607304124473705E-3</c:v>
                </c:pt>
                <c:pt idx="504">
                  <c:v>-5.9502608489618971E-3</c:v>
                </c:pt>
                <c:pt idx="505">
                  <c:v>-6.0855116791332046E-3</c:v>
                </c:pt>
                <c:pt idx="506">
                  <c:v>-6.104429408907831E-3</c:v>
                </c:pt>
                <c:pt idx="507">
                  <c:v>-6.0494572369352434E-3</c:v>
                </c:pt>
                <c:pt idx="508">
                  <c:v>-6.1431335604169831E-3</c:v>
                </c:pt>
                <c:pt idx="509">
                  <c:v>-6.6041764425878524E-3</c:v>
                </c:pt>
                <c:pt idx="510">
                  <c:v>-6.4771347709047661E-3</c:v>
                </c:pt>
                <c:pt idx="511">
                  <c:v>-6.438004387464424E-3</c:v>
                </c:pt>
                <c:pt idx="512">
                  <c:v>-6.457229681278067E-3</c:v>
                </c:pt>
                <c:pt idx="513">
                  <c:v>-6.4519088779871744E-3</c:v>
                </c:pt>
                <c:pt idx="514">
                  <c:v>-6.5162542545663428E-3</c:v>
                </c:pt>
                <c:pt idx="515">
                  <c:v>-6.6218513612623852E-3</c:v>
                </c:pt>
                <c:pt idx="516">
                  <c:v>-6.6165353311091043E-3</c:v>
                </c:pt>
                <c:pt idx="517">
                  <c:v>-6.4467759676950492E-3</c:v>
                </c:pt>
                <c:pt idx="518">
                  <c:v>-6.2353675219127477E-3</c:v>
                </c:pt>
                <c:pt idx="519">
                  <c:v>-5.7493195585275325E-3</c:v>
                </c:pt>
                <c:pt idx="520">
                  <c:v>-5.731940638022257E-3</c:v>
                </c:pt>
                <c:pt idx="521">
                  <c:v>-5.6605079470816808E-3</c:v>
                </c:pt>
                <c:pt idx="522">
                  <c:v>-5.6423440410995384E-3</c:v>
                </c:pt>
                <c:pt idx="523">
                  <c:v>-6.1901660154975698E-3</c:v>
                </c:pt>
                <c:pt idx="524">
                  <c:v>-6.2934262662796506E-3</c:v>
                </c:pt>
                <c:pt idx="525">
                  <c:v>-6.1676044962683174E-3</c:v>
                </c:pt>
                <c:pt idx="526">
                  <c:v>-6.3620779583695008E-3</c:v>
                </c:pt>
                <c:pt idx="527">
                  <c:v>-6.4729521711854553E-3</c:v>
                </c:pt>
                <c:pt idx="528">
                  <c:v>-6.3284131465038114E-3</c:v>
                </c:pt>
                <c:pt idx="529">
                  <c:v>-6.3230788765405331E-3</c:v>
                </c:pt>
                <c:pt idx="530">
                  <c:v>-5.2795081942092984E-3</c:v>
                </c:pt>
                <c:pt idx="531">
                  <c:v>-5.2925202999338184E-3</c:v>
                </c:pt>
                <c:pt idx="532">
                  <c:v>-5.2832067019407715E-3</c:v>
                </c:pt>
                <c:pt idx="533">
                  <c:v>-4.9540374890540279E-3</c:v>
                </c:pt>
                <c:pt idx="534">
                  <c:v>-4.8526520896013878E-3</c:v>
                </c:pt>
                <c:pt idx="535">
                  <c:v>-4.8306689613179157E-3</c:v>
                </c:pt>
                <c:pt idx="536">
                  <c:v>-4.743376337150166E-3</c:v>
                </c:pt>
                <c:pt idx="537">
                  <c:v>-4.7599303864730193E-3</c:v>
                </c:pt>
                <c:pt idx="538">
                  <c:v>-4.7655924077898894E-3</c:v>
                </c:pt>
                <c:pt idx="539">
                  <c:v>-4.7725600331378036E-3</c:v>
                </c:pt>
                <c:pt idx="540">
                  <c:v>-4.8683690818894128E-3</c:v>
                </c:pt>
                <c:pt idx="541">
                  <c:v>-4.9342302696667659E-3</c:v>
                </c:pt>
                <c:pt idx="542">
                  <c:v>-5.0215784015197815E-3</c:v>
                </c:pt>
                <c:pt idx="543">
                  <c:v>-5.0304059576326346E-3</c:v>
                </c:pt>
                <c:pt idx="544">
                  <c:v>-4.9379838156258515E-3</c:v>
                </c:pt>
                <c:pt idx="545">
                  <c:v>-4.8519167577778678E-3</c:v>
                </c:pt>
                <c:pt idx="546">
                  <c:v>-4.8466748652787554E-3</c:v>
                </c:pt>
                <c:pt idx="547">
                  <c:v>-5.0131297432360975E-3</c:v>
                </c:pt>
                <c:pt idx="548">
                  <c:v>-5.1241064190788305E-3</c:v>
                </c:pt>
                <c:pt idx="549">
                  <c:v>-5.5106877325449884E-3</c:v>
                </c:pt>
                <c:pt idx="550">
                  <c:v>-5.4636414128596753E-3</c:v>
                </c:pt>
                <c:pt idx="551">
                  <c:v>-5.4864349732973213E-3</c:v>
                </c:pt>
                <c:pt idx="552">
                  <c:v>-5.407559704763313E-3</c:v>
                </c:pt>
                <c:pt idx="553">
                  <c:v>-5.533477154862845E-3</c:v>
                </c:pt>
                <c:pt idx="554">
                  <c:v>-5.5904400260729167E-3</c:v>
                </c:pt>
                <c:pt idx="555">
                  <c:v>-5.6273643884963828E-3</c:v>
                </c:pt>
                <c:pt idx="556">
                  <c:v>-5.6489615270899629E-3</c:v>
                </c:pt>
                <c:pt idx="557">
                  <c:v>-5.5290369962572418E-3</c:v>
                </c:pt>
                <c:pt idx="558">
                  <c:v>-5.5647950694223654E-3</c:v>
                </c:pt>
                <c:pt idx="559">
                  <c:v>-5.5247580371887558E-3</c:v>
                </c:pt>
                <c:pt idx="560">
                  <c:v>-6.7918244397245989E-3</c:v>
                </c:pt>
                <c:pt idx="561">
                  <c:v>-6.7400214115120385E-3</c:v>
                </c:pt>
                <c:pt idx="562">
                  <c:v>-6.7571356394981567E-3</c:v>
                </c:pt>
                <c:pt idx="563">
                  <c:v>-7.5802298429643129E-3</c:v>
                </c:pt>
                <c:pt idx="564">
                  <c:v>-7.6382369751662998E-3</c:v>
                </c:pt>
                <c:pt idx="565">
                  <c:v>-7.8329734021519298E-3</c:v>
                </c:pt>
                <c:pt idx="566">
                  <c:v>-7.8475237887232433E-3</c:v>
                </c:pt>
                <c:pt idx="567">
                  <c:v>-7.8681441219977284E-3</c:v>
                </c:pt>
                <c:pt idx="568">
                  <c:v>-7.9404139478337389E-3</c:v>
                </c:pt>
                <c:pt idx="569">
                  <c:v>-7.9961246012944086E-3</c:v>
                </c:pt>
                <c:pt idx="570">
                  <c:v>-7.7798476949065753E-3</c:v>
                </c:pt>
                <c:pt idx="571">
                  <c:v>-7.594537482436649E-3</c:v>
                </c:pt>
                <c:pt idx="572">
                  <c:v>-7.5454187992911072E-3</c:v>
                </c:pt>
                <c:pt idx="573">
                  <c:v>-7.5811247254460833E-3</c:v>
                </c:pt>
                <c:pt idx="574">
                  <c:v>-7.109843731309717E-3</c:v>
                </c:pt>
                <c:pt idx="575">
                  <c:v>-7.0867796691721054E-3</c:v>
                </c:pt>
                <c:pt idx="576">
                  <c:v>-7.175798306141748E-3</c:v>
                </c:pt>
                <c:pt idx="577">
                  <c:v>-7.1702207579419017E-3</c:v>
                </c:pt>
                <c:pt idx="578">
                  <c:v>-7.1769464344552912E-3</c:v>
                </c:pt>
                <c:pt idx="579">
                  <c:v>-7.1497332795194667E-3</c:v>
                </c:pt>
                <c:pt idx="580">
                  <c:v>-7.2617946063810099E-3</c:v>
                </c:pt>
                <c:pt idx="581">
                  <c:v>-7.3381771968333955E-3</c:v>
                </c:pt>
                <c:pt idx="582">
                  <c:v>-7.3872855040678356E-3</c:v>
                </c:pt>
                <c:pt idx="583">
                  <c:v>-7.3892060607482993E-3</c:v>
                </c:pt>
                <c:pt idx="584">
                  <c:v>-7.3540997909273586E-3</c:v>
                </c:pt>
                <c:pt idx="585">
                  <c:v>-7.3131691763476401E-3</c:v>
                </c:pt>
                <c:pt idx="586">
                  <c:v>-7.2558387709969778E-3</c:v>
                </c:pt>
                <c:pt idx="587">
                  <c:v>-7.6367257123887968E-3</c:v>
                </c:pt>
                <c:pt idx="588">
                  <c:v>-5.8582492520271069E-3</c:v>
                </c:pt>
                <c:pt idx="589">
                  <c:v>-5.9061889064677565E-3</c:v>
                </c:pt>
                <c:pt idx="590">
                  <c:v>-5.6996054154552197E-3</c:v>
                </c:pt>
                <c:pt idx="591">
                  <c:v>-5.7282968062218444E-3</c:v>
                </c:pt>
                <c:pt idx="592">
                  <c:v>-5.7956021363728457E-3</c:v>
                </c:pt>
                <c:pt idx="593">
                  <c:v>-5.792303469676581E-3</c:v>
                </c:pt>
                <c:pt idx="594">
                  <c:v>-5.7659557634750207E-3</c:v>
                </c:pt>
                <c:pt idx="595">
                  <c:v>-5.6966845391218371E-3</c:v>
                </c:pt>
                <c:pt idx="596">
                  <c:v>-5.7080267275901675E-3</c:v>
                </c:pt>
                <c:pt idx="597">
                  <c:v>-5.7728062226566563E-3</c:v>
                </c:pt>
                <c:pt idx="598">
                  <c:v>-5.5198657764754279E-3</c:v>
                </c:pt>
                <c:pt idx="599">
                  <c:v>-5.4983522288820103E-3</c:v>
                </c:pt>
                <c:pt idx="600">
                  <c:v>-5.2699488743012781E-3</c:v>
                </c:pt>
                <c:pt idx="601">
                  <c:v>-5.3157871593154391E-3</c:v>
                </c:pt>
                <c:pt idx="602">
                  <c:v>-4.7862636869753922E-3</c:v>
                </c:pt>
                <c:pt idx="603">
                  <c:v>-4.6848312574250591E-3</c:v>
                </c:pt>
                <c:pt idx="604">
                  <c:v>-5.0270238164726779E-3</c:v>
                </c:pt>
                <c:pt idx="605">
                  <c:v>-5.1366981909085688E-3</c:v>
                </c:pt>
                <c:pt idx="606">
                  <c:v>-5.1704895160912326E-3</c:v>
                </c:pt>
                <c:pt idx="607">
                  <c:v>-5.1300615350045528E-3</c:v>
                </c:pt>
                <c:pt idx="608">
                  <c:v>-5.04124361972276E-3</c:v>
                </c:pt>
                <c:pt idx="609">
                  <c:v>-4.9484763347132192E-3</c:v>
                </c:pt>
                <c:pt idx="610">
                  <c:v>-4.9798939909623755E-3</c:v>
                </c:pt>
                <c:pt idx="611">
                  <c:v>-5.0222995463740875E-3</c:v>
                </c:pt>
                <c:pt idx="612">
                  <c:v>-5.0345419565594393E-3</c:v>
                </c:pt>
                <c:pt idx="613">
                  <c:v>-5.0791967565221394E-3</c:v>
                </c:pt>
                <c:pt idx="614">
                  <c:v>-5.0879138822549404E-3</c:v>
                </c:pt>
                <c:pt idx="615">
                  <c:v>-5.2396683573500613E-3</c:v>
                </c:pt>
                <c:pt idx="616">
                  <c:v>-5.1896032633783166E-3</c:v>
                </c:pt>
                <c:pt idx="617">
                  <c:v>-5.1549064117288462E-3</c:v>
                </c:pt>
                <c:pt idx="618">
                  <c:v>-6.2447521541972506E-3</c:v>
                </c:pt>
                <c:pt idx="619">
                  <c:v>-6.1048753068537074E-3</c:v>
                </c:pt>
                <c:pt idx="620">
                  <c:v>-6.1597061332313218E-3</c:v>
                </c:pt>
                <c:pt idx="621">
                  <c:v>-6.0846762414977669E-3</c:v>
                </c:pt>
                <c:pt idx="622">
                  <c:v>-6.091513462941154E-3</c:v>
                </c:pt>
                <c:pt idx="623">
                  <c:v>-6.0429356201553153E-3</c:v>
                </c:pt>
                <c:pt idx="624">
                  <c:v>-5.9837005554656012E-3</c:v>
                </c:pt>
                <c:pt idx="625">
                  <c:v>-5.1684307080449333E-3</c:v>
                </c:pt>
                <c:pt idx="626">
                  <c:v>-3.601092281979263E-3</c:v>
                </c:pt>
                <c:pt idx="627">
                  <c:v>-3.4804053031582596E-3</c:v>
                </c:pt>
                <c:pt idx="628">
                  <c:v>-3.5180009547863857E-3</c:v>
                </c:pt>
                <c:pt idx="629">
                  <c:v>-3.4304741374951708E-3</c:v>
                </c:pt>
                <c:pt idx="630">
                  <c:v>-3.4194431928022961E-3</c:v>
                </c:pt>
                <c:pt idx="631">
                  <c:v>-3.3466873113733066E-3</c:v>
                </c:pt>
                <c:pt idx="632">
                  <c:v>-3.8422495221107841E-3</c:v>
                </c:pt>
                <c:pt idx="633">
                  <c:v>-3.847181021956636E-3</c:v>
                </c:pt>
                <c:pt idx="634">
                  <c:v>-3.846809422361314E-3</c:v>
                </c:pt>
                <c:pt idx="635">
                  <c:v>-3.8446334426047411E-3</c:v>
                </c:pt>
                <c:pt idx="636">
                  <c:v>-3.8546261079388747E-3</c:v>
                </c:pt>
                <c:pt idx="637">
                  <c:v>-3.9084180761271743E-3</c:v>
                </c:pt>
                <c:pt idx="638">
                  <c:v>-4.024643168962139E-3</c:v>
                </c:pt>
                <c:pt idx="639">
                  <c:v>-4.020694831614496E-3</c:v>
                </c:pt>
                <c:pt idx="640">
                  <c:v>-4.0157485817592584E-3</c:v>
                </c:pt>
                <c:pt idx="641">
                  <c:v>-3.9587201578653794E-3</c:v>
                </c:pt>
                <c:pt idx="642">
                  <c:v>-3.9703077733725407E-3</c:v>
                </c:pt>
                <c:pt idx="643">
                  <c:v>-3.9506513451549249E-3</c:v>
                </c:pt>
                <c:pt idx="644">
                  <c:v>-4.1212510762191328E-3</c:v>
                </c:pt>
                <c:pt idx="645">
                  <c:v>-3.8806383569177823E-3</c:v>
                </c:pt>
                <c:pt idx="646">
                  <c:v>-3.8882025866682629E-3</c:v>
                </c:pt>
                <c:pt idx="647">
                  <c:v>-3.8899235559862223E-3</c:v>
                </c:pt>
                <c:pt idx="648">
                  <c:v>-3.9966182217984845E-3</c:v>
                </c:pt>
                <c:pt idx="649">
                  <c:v>-4.0002666832840723E-3</c:v>
                </c:pt>
                <c:pt idx="650">
                  <c:v>-4.0627834803208841E-3</c:v>
                </c:pt>
                <c:pt idx="651">
                  <c:v>-4.1170425956894262E-3</c:v>
                </c:pt>
                <c:pt idx="652">
                  <c:v>-3.6649621264665949E-3</c:v>
                </c:pt>
                <c:pt idx="653">
                  <c:v>-3.7045837840695428E-3</c:v>
                </c:pt>
                <c:pt idx="654">
                  <c:v>-3.7645116284573191E-3</c:v>
                </c:pt>
                <c:pt idx="655">
                  <c:v>-4.6169448999021818E-3</c:v>
                </c:pt>
                <c:pt idx="656">
                  <c:v>-6.9601417509364653E-3</c:v>
                </c:pt>
                <c:pt idx="657">
                  <c:v>-7.0177288297925298E-3</c:v>
                </c:pt>
                <c:pt idx="658">
                  <c:v>-7.0333129849176343E-3</c:v>
                </c:pt>
                <c:pt idx="659">
                  <c:v>-6.9837495532832708E-3</c:v>
                </c:pt>
                <c:pt idx="660">
                  <c:v>-7.1273878864918172E-3</c:v>
                </c:pt>
                <c:pt idx="661">
                  <c:v>-7.1801824878257687E-3</c:v>
                </c:pt>
                <c:pt idx="662">
                  <c:v>-7.2194922683586644E-3</c:v>
                </c:pt>
                <c:pt idx="663">
                  <c:v>-6.8405539008230204E-3</c:v>
                </c:pt>
                <c:pt idx="664">
                  <c:v>-6.9785542132774769E-3</c:v>
                </c:pt>
                <c:pt idx="665">
                  <c:v>-6.8886843597017744E-3</c:v>
                </c:pt>
                <c:pt idx="666">
                  <c:v>-6.8163051270361845E-3</c:v>
                </c:pt>
                <c:pt idx="667">
                  <c:v>-6.6123994919384914E-3</c:v>
                </c:pt>
                <c:pt idx="668">
                  <c:v>-6.4964502278932017E-3</c:v>
                </c:pt>
                <c:pt idx="669">
                  <c:v>-6.5169610148726196E-3</c:v>
                </c:pt>
                <c:pt idx="670">
                  <c:v>-6.414403945679375E-3</c:v>
                </c:pt>
                <c:pt idx="671">
                  <c:v>-6.4372800385944723E-3</c:v>
                </c:pt>
                <c:pt idx="672">
                  <c:v>-6.5163931692588826E-3</c:v>
                </c:pt>
                <c:pt idx="673">
                  <c:v>-6.1561743407657528E-3</c:v>
                </c:pt>
                <c:pt idx="674">
                  <c:v>-5.9973717234562346E-3</c:v>
                </c:pt>
                <c:pt idx="675">
                  <c:v>-6.1313220821601578E-3</c:v>
                </c:pt>
                <c:pt idx="676">
                  <c:v>-5.8928690719494701E-3</c:v>
                </c:pt>
                <c:pt idx="677">
                  <c:v>-6.0418236909625745E-3</c:v>
                </c:pt>
                <c:pt idx="678">
                  <c:v>-6.0459630116069451E-3</c:v>
                </c:pt>
                <c:pt idx="679">
                  <c:v>-5.4531808871801125E-3</c:v>
                </c:pt>
                <c:pt idx="680">
                  <c:v>-5.3015541887269594E-3</c:v>
                </c:pt>
                <c:pt idx="681">
                  <c:v>-5.1858400077820534E-3</c:v>
                </c:pt>
                <c:pt idx="682">
                  <c:v>-4.381448954656305E-3</c:v>
                </c:pt>
                <c:pt idx="683">
                  <c:v>-4.26971586425943E-3</c:v>
                </c:pt>
                <c:pt idx="684">
                  <c:v>-4.2707775777160797E-3</c:v>
                </c:pt>
                <c:pt idx="685">
                  <c:v>-4.1493846791931573E-3</c:v>
                </c:pt>
                <c:pt idx="686">
                  <c:v>-4.2030414645377705E-3</c:v>
                </c:pt>
                <c:pt idx="687">
                  <c:v>-4.2331768849912989E-3</c:v>
                </c:pt>
                <c:pt idx="688">
                  <c:v>-4.326927866178382E-3</c:v>
                </c:pt>
                <c:pt idx="689">
                  <c:v>-4.4796684529605311E-3</c:v>
                </c:pt>
                <c:pt idx="690">
                  <c:v>-4.6417662773875247E-3</c:v>
                </c:pt>
                <c:pt idx="691">
                  <c:v>-4.6586591015129065E-3</c:v>
                </c:pt>
                <c:pt idx="692">
                  <c:v>-4.6325630317921983E-3</c:v>
                </c:pt>
                <c:pt idx="693">
                  <c:v>-4.7667745181037644E-3</c:v>
                </c:pt>
                <c:pt idx="694">
                  <c:v>-4.69127923985432E-3</c:v>
                </c:pt>
                <c:pt idx="695">
                  <c:v>-4.6167014033137704E-3</c:v>
                </c:pt>
                <c:pt idx="696">
                  <c:v>-4.601103262157652E-3</c:v>
                </c:pt>
                <c:pt idx="697">
                  <c:v>-4.6015440139814939E-3</c:v>
                </c:pt>
                <c:pt idx="698">
                  <c:v>-4.5952119191114485E-3</c:v>
                </c:pt>
                <c:pt idx="699">
                  <c:v>-4.5965220657359068E-3</c:v>
                </c:pt>
                <c:pt idx="700">
                  <c:v>-4.6365378182966072E-3</c:v>
                </c:pt>
                <c:pt idx="701">
                  <c:v>-4.7357333395834957E-3</c:v>
                </c:pt>
                <c:pt idx="702">
                  <c:v>-4.7214008528405176E-3</c:v>
                </c:pt>
                <c:pt idx="703">
                  <c:v>-4.4712815326465264E-3</c:v>
                </c:pt>
                <c:pt idx="704">
                  <c:v>-4.3871503434516432E-3</c:v>
                </c:pt>
                <c:pt idx="705">
                  <c:v>-4.4542976773316954E-3</c:v>
                </c:pt>
                <c:pt idx="706">
                  <c:v>-4.516123267370404E-3</c:v>
                </c:pt>
                <c:pt idx="707">
                  <c:v>-4.2746897732169244E-3</c:v>
                </c:pt>
                <c:pt idx="708">
                  <c:v>-4.1256933040542988E-3</c:v>
                </c:pt>
                <c:pt idx="709">
                  <c:v>-4.5938672522256602E-3</c:v>
                </c:pt>
                <c:pt idx="710">
                  <c:v>-4.7137505858510561E-3</c:v>
                </c:pt>
                <c:pt idx="711">
                  <c:v>-4.7257546162037794E-3</c:v>
                </c:pt>
                <c:pt idx="712">
                  <c:v>-5.944003562090812E-3</c:v>
                </c:pt>
                <c:pt idx="713">
                  <c:v>-6.0863397522539246E-3</c:v>
                </c:pt>
                <c:pt idx="714">
                  <c:v>-6.0846824501361082E-3</c:v>
                </c:pt>
                <c:pt idx="715">
                  <c:v>-6.1030388398779266E-3</c:v>
                </c:pt>
                <c:pt idx="716">
                  <c:v>-6.1182920715198595E-3</c:v>
                </c:pt>
                <c:pt idx="717">
                  <c:v>-6.1599706491380036E-3</c:v>
                </c:pt>
                <c:pt idx="718">
                  <c:v>-5.9866375423528791E-3</c:v>
                </c:pt>
                <c:pt idx="719">
                  <c:v>-5.9963078338204695E-3</c:v>
                </c:pt>
                <c:pt idx="720">
                  <c:v>-5.934025370724628E-3</c:v>
                </c:pt>
                <c:pt idx="721">
                  <c:v>-5.9937287800713168E-3</c:v>
                </c:pt>
                <c:pt idx="722">
                  <c:v>-6.0229176289281509E-3</c:v>
                </c:pt>
                <c:pt idx="723">
                  <c:v>-6.0322979165540105E-3</c:v>
                </c:pt>
                <c:pt idx="724">
                  <c:v>-6.031182342558887E-3</c:v>
                </c:pt>
                <c:pt idx="725">
                  <c:v>-6.0428115065834656E-3</c:v>
                </c:pt>
                <c:pt idx="726">
                  <c:v>-6.0060006606888787E-3</c:v>
                </c:pt>
                <c:pt idx="727">
                  <c:v>-5.2321722269494907E-3</c:v>
                </c:pt>
                <c:pt idx="728">
                  <c:v>-5.3319962204415872E-3</c:v>
                </c:pt>
                <c:pt idx="729">
                  <c:v>-4.9610841406110516E-3</c:v>
                </c:pt>
                <c:pt idx="730">
                  <c:v>-4.8643525770407717E-3</c:v>
                </c:pt>
                <c:pt idx="731">
                  <c:v>-4.8252033499712361E-3</c:v>
                </c:pt>
                <c:pt idx="732">
                  <c:v>-4.8373643839978789E-3</c:v>
                </c:pt>
                <c:pt idx="733">
                  <c:v>-5.3571048053289976E-3</c:v>
                </c:pt>
                <c:pt idx="734">
                  <c:v>-5.4340960965254294E-3</c:v>
                </c:pt>
                <c:pt idx="735">
                  <c:v>-5.4591070624579697E-3</c:v>
                </c:pt>
                <c:pt idx="736">
                  <c:v>-5.4921602403780164E-3</c:v>
                </c:pt>
                <c:pt idx="737">
                  <c:v>-5.8011941696478157E-3</c:v>
                </c:pt>
                <c:pt idx="738">
                  <c:v>-5.8877018411777554E-3</c:v>
                </c:pt>
                <c:pt idx="739">
                  <c:v>-5.9915165603571224E-3</c:v>
                </c:pt>
                <c:pt idx="740">
                  <c:v>-5.8795838031952489E-3</c:v>
                </c:pt>
                <c:pt idx="741">
                  <c:v>-6.0468013536237328E-3</c:v>
                </c:pt>
                <c:pt idx="742">
                  <c:v>-6.0765261972407164E-3</c:v>
                </c:pt>
                <c:pt idx="743">
                  <c:v>-6.0559781384821078E-3</c:v>
                </c:pt>
                <c:pt idx="744">
                  <c:v>-5.9663398620454283E-3</c:v>
                </c:pt>
                <c:pt idx="745">
                  <c:v>-6.0337416931172021E-3</c:v>
                </c:pt>
                <c:pt idx="746">
                  <c:v>-6.0562825310282731E-3</c:v>
                </c:pt>
                <c:pt idx="747">
                  <c:v>-5.858041911960086E-3</c:v>
                </c:pt>
                <c:pt idx="748">
                  <c:v>-6.1462307957273962E-3</c:v>
                </c:pt>
                <c:pt idx="749">
                  <c:v>-6.1947124463044324E-3</c:v>
                </c:pt>
                <c:pt idx="750">
                  <c:v>-6.2448201888271361E-3</c:v>
                </c:pt>
                <c:pt idx="751">
                  <c:v>-6.2758939092633663E-3</c:v>
                </c:pt>
                <c:pt idx="752">
                  <c:v>-6.3012989114882238E-3</c:v>
                </c:pt>
                <c:pt idx="753">
                  <c:v>-6.2992694957093275E-3</c:v>
                </c:pt>
                <c:pt idx="754">
                  <c:v>-6.0104517747339948E-3</c:v>
                </c:pt>
                <c:pt idx="755">
                  <c:v>-5.930892039806587E-3</c:v>
                </c:pt>
                <c:pt idx="756">
                  <c:v>-6.0424330491916176E-3</c:v>
                </c:pt>
                <c:pt idx="757">
                  <c:v>-7.1703287554277587E-3</c:v>
                </c:pt>
                <c:pt idx="758">
                  <c:v>-7.2414817486661709E-3</c:v>
                </c:pt>
                <c:pt idx="759">
                  <c:v>-7.7879899737926112E-3</c:v>
                </c:pt>
                <c:pt idx="760">
                  <c:v>-7.8560240503816464E-3</c:v>
                </c:pt>
                <c:pt idx="761">
                  <c:v>-7.9539603268494637E-3</c:v>
                </c:pt>
                <c:pt idx="762">
                  <c:v>-5.4357578102641338E-3</c:v>
                </c:pt>
                <c:pt idx="763">
                  <c:v>-5.4775598342891967E-3</c:v>
                </c:pt>
                <c:pt idx="764">
                  <c:v>-5.5347078702282591E-3</c:v>
                </c:pt>
                <c:pt idx="765">
                  <c:v>-5.5686687484679323E-3</c:v>
                </c:pt>
                <c:pt idx="766">
                  <c:v>-5.6711698967702347E-3</c:v>
                </c:pt>
                <c:pt idx="767">
                  <c:v>-5.8244602891555763E-3</c:v>
                </c:pt>
                <c:pt idx="768">
                  <c:v>-5.8745667678263402E-3</c:v>
                </c:pt>
                <c:pt idx="769">
                  <c:v>-5.7699905485367776E-3</c:v>
                </c:pt>
                <c:pt idx="770">
                  <c:v>-5.9228177796993966E-3</c:v>
                </c:pt>
                <c:pt idx="771">
                  <c:v>-5.8684112240322602E-3</c:v>
                </c:pt>
                <c:pt idx="772">
                  <c:v>-5.7838607392864724E-3</c:v>
                </c:pt>
                <c:pt idx="773">
                  <c:v>-5.7981859865610282E-3</c:v>
                </c:pt>
                <c:pt idx="774">
                  <c:v>-5.945093144617739E-3</c:v>
                </c:pt>
                <c:pt idx="775">
                  <c:v>-5.8025254480842375E-3</c:v>
                </c:pt>
                <c:pt idx="776">
                  <c:v>-5.8102828733390816E-3</c:v>
                </c:pt>
                <c:pt idx="777">
                  <c:v>-5.82565650779955E-3</c:v>
                </c:pt>
                <c:pt idx="778">
                  <c:v>-5.795355708972689E-3</c:v>
                </c:pt>
                <c:pt idx="779">
                  <c:v>-4.3797777547634892E-3</c:v>
                </c:pt>
                <c:pt idx="780">
                  <c:v>-4.382648435216208E-3</c:v>
                </c:pt>
                <c:pt idx="781">
                  <c:v>-4.4179788092979407E-3</c:v>
                </c:pt>
                <c:pt idx="782">
                  <c:v>-4.256991430689798E-3</c:v>
                </c:pt>
                <c:pt idx="783">
                  <c:v>-4.1432217006178579E-3</c:v>
                </c:pt>
                <c:pt idx="784">
                  <c:v>-4.2990554779965256E-3</c:v>
                </c:pt>
                <c:pt idx="785">
                  <c:v>-4.2957497935864689E-3</c:v>
                </c:pt>
                <c:pt idx="786">
                  <c:v>-4.2045144141415036E-3</c:v>
                </c:pt>
                <c:pt idx="787">
                  <c:v>-4.155508820848846E-3</c:v>
                </c:pt>
                <c:pt idx="788">
                  <c:v>-4.1406591181045276E-3</c:v>
                </c:pt>
                <c:pt idx="789">
                  <c:v>-4.0515310953013767E-3</c:v>
                </c:pt>
                <c:pt idx="790">
                  <c:v>-4.0625775115815145E-3</c:v>
                </c:pt>
                <c:pt idx="791">
                  <c:v>-3.9273115823223511E-3</c:v>
                </c:pt>
                <c:pt idx="792">
                  <c:v>-5.6118184968216812E-3</c:v>
                </c:pt>
                <c:pt idx="793">
                  <c:v>-5.5406782774739486E-3</c:v>
                </c:pt>
                <c:pt idx="794">
                  <c:v>-5.4212697364702271E-3</c:v>
                </c:pt>
                <c:pt idx="795">
                  <c:v>-5.4859209738815041E-3</c:v>
                </c:pt>
                <c:pt idx="796">
                  <c:v>-5.4678523210178629E-3</c:v>
                </c:pt>
                <c:pt idx="797">
                  <c:v>-4.7586861703058925E-3</c:v>
                </c:pt>
                <c:pt idx="798">
                  <c:v>-4.6596847905963582E-3</c:v>
                </c:pt>
                <c:pt idx="799">
                  <c:v>-4.0877049833872182E-3</c:v>
                </c:pt>
                <c:pt idx="800">
                  <c:v>-3.9538536309640208E-3</c:v>
                </c:pt>
                <c:pt idx="801">
                  <c:v>-4.0004436083693664E-3</c:v>
                </c:pt>
                <c:pt idx="802">
                  <c:v>-4.0407493033894661E-3</c:v>
                </c:pt>
                <c:pt idx="803">
                  <c:v>-4.050868371831582E-3</c:v>
                </c:pt>
                <c:pt idx="804">
                  <c:v>-3.9820097888104561E-3</c:v>
                </c:pt>
                <c:pt idx="805">
                  <c:v>-4.0529035644461357E-3</c:v>
                </c:pt>
                <c:pt idx="806">
                  <c:v>-3.9942705392600822E-3</c:v>
                </c:pt>
                <c:pt idx="807">
                  <c:v>-4.0327092657995185E-3</c:v>
                </c:pt>
                <c:pt idx="808">
                  <c:v>-4.1240850649098722E-3</c:v>
                </c:pt>
                <c:pt idx="809">
                  <c:v>-5.4344870978744334E-3</c:v>
                </c:pt>
                <c:pt idx="810">
                  <c:v>-5.3050206273023582E-3</c:v>
                </c:pt>
                <c:pt idx="811">
                  <c:v>-5.3090235436686235E-3</c:v>
                </c:pt>
                <c:pt idx="812">
                  <c:v>-5.5513514998590374E-3</c:v>
                </c:pt>
                <c:pt idx="813">
                  <c:v>-5.6510898439462364E-3</c:v>
                </c:pt>
                <c:pt idx="814">
                  <c:v>-5.6243515360890417E-3</c:v>
                </c:pt>
                <c:pt idx="815">
                  <c:v>-5.7528491299593228E-3</c:v>
                </c:pt>
                <c:pt idx="816">
                  <c:v>-5.748697044946632E-3</c:v>
                </c:pt>
                <c:pt idx="817">
                  <c:v>-5.6633198224322386E-3</c:v>
                </c:pt>
                <c:pt idx="818">
                  <c:v>-5.6463486565668901E-3</c:v>
                </c:pt>
                <c:pt idx="819">
                  <c:v>-5.7889895278254357E-3</c:v>
                </c:pt>
                <c:pt idx="820">
                  <c:v>-5.7521164739256486E-3</c:v>
                </c:pt>
                <c:pt idx="821">
                  <c:v>-5.8620967188669024E-3</c:v>
                </c:pt>
                <c:pt idx="822">
                  <c:v>-5.8457647912461257E-3</c:v>
                </c:pt>
                <c:pt idx="823">
                  <c:v>-5.8738322382181985E-3</c:v>
                </c:pt>
                <c:pt idx="824">
                  <c:v>-6.008196723147066E-3</c:v>
                </c:pt>
                <c:pt idx="825">
                  <c:v>-6.0436930987309264E-3</c:v>
                </c:pt>
                <c:pt idx="826">
                  <c:v>-5.9369671907431604E-3</c:v>
                </c:pt>
                <c:pt idx="827">
                  <c:v>-6.7869468168454822E-3</c:v>
                </c:pt>
                <c:pt idx="828">
                  <c:v>-6.8450291381441731E-3</c:v>
                </c:pt>
                <c:pt idx="829">
                  <c:v>-8.4041101772382078E-3</c:v>
                </c:pt>
                <c:pt idx="830">
                  <c:v>-7.9378000321179924E-3</c:v>
                </c:pt>
                <c:pt idx="831">
                  <c:v>-7.9433418726754003E-3</c:v>
                </c:pt>
                <c:pt idx="832">
                  <c:v>-7.9224466860434752E-3</c:v>
                </c:pt>
                <c:pt idx="833">
                  <c:v>-7.9200438900551978E-3</c:v>
                </c:pt>
                <c:pt idx="834">
                  <c:v>-7.923283708466471E-3</c:v>
                </c:pt>
                <c:pt idx="835">
                  <c:v>-7.9501636715754442E-3</c:v>
                </c:pt>
                <c:pt idx="836">
                  <c:v>-7.8369264903850842E-3</c:v>
                </c:pt>
                <c:pt idx="837">
                  <c:v>-7.2479709726042231E-3</c:v>
                </c:pt>
                <c:pt idx="838">
                  <c:v>-7.2430725208984022E-3</c:v>
                </c:pt>
                <c:pt idx="839">
                  <c:v>-7.3972853341114147E-3</c:v>
                </c:pt>
                <c:pt idx="840">
                  <c:v>-7.5085834098066644E-3</c:v>
                </c:pt>
                <c:pt idx="841">
                  <c:v>-7.2925116760077738E-3</c:v>
                </c:pt>
                <c:pt idx="842">
                  <c:v>-7.1667766585362044E-3</c:v>
                </c:pt>
                <c:pt idx="843">
                  <c:v>-6.8137836397122098E-3</c:v>
                </c:pt>
                <c:pt idx="844">
                  <c:v>-6.8679983819621834E-3</c:v>
                </c:pt>
                <c:pt idx="845">
                  <c:v>-6.745740353871126E-3</c:v>
                </c:pt>
                <c:pt idx="846">
                  <c:v>-6.8622547158959744E-3</c:v>
                </c:pt>
                <c:pt idx="847">
                  <c:v>-6.9344889089224112E-3</c:v>
                </c:pt>
                <c:pt idx="848">
                  <c:v>-6.8791970554192491E-3</c:v>
                </c:pt>
                <c:pt idx="849">
                  <c:v>-6.7605461511086708E-3</c:v>
                </c:pt>
                <c:pt idx="850">
                  <c:v>-6.6250083783348573E-3</c:v>
                </c:pt>
                <c:pt idx="851">
                  <c:v>-6.6244378884882426E-3</c:v>
                </c:pt>
                <c:pt idx="852">
                  <c:v>-6.5926766268425774E-3</c:v>
                </c:pt>
                <c:pt idx="853">
                  <c:v>-6.5879127177809159E-3</c:v>
                </c:pt>
                <c:pt idx="854">
                  <c:v>-6.4750752389389019E-3</c:v>
                </c:pt>
                <c:pt idx="855">
                  <c:v>-6.2856165892025322E-3</c:v>
                </c:pt>
                <c:pt idx="856">
                  <c:v>-6.2994100995263941E-3</c:v>
                </c:pt>
                <c:pt idx="857">
                  <c:v>-6.1443200662020725E-3</c:v>
                </c:pt>
                <c:pt idx="858">
                  <c:v>-6.1417483559622812E-3</c:v>
                </c:pt>
                <c:pt idx="859">
                  <c:v>-6.1205273590087834E-3</c:v>
                </c:pt>
                <c:pt idx="860">
                  <c:v>-6.4861854561947783E-3</c:v>
                </c:pt>
                <c:pt idx="861">
                  <c:v>-6.5540919733566407E-3</c:v>
                </c:pt>
                <c:pt idx="862">
                  <c:v>-6.3433961797932283E-3</c:v>
                </c:pt>
                <c:pt idx="863">
                  <c:v>-6.3041351717782971E-3</c:v>
                </c:pt>
                <c:pt idx="864">
                  <c:v>-6.344908317392919E-3</c:v>
                </c:pt>
                <c:pt idx="865">
                  <c:v>-6.2624691560458469E-3</c:v>
                </c:pt>
                <c:pt idx="866">
                  <c:v>-6.2731556981710929E-3</c:v>
                </c:pt>
                <c:pt idx="867">
                  <c:v>-6.6901196279151856E-3</c:v>
                </c:pt>
                <c:pt idx="868">
                  <c:v>-6.6017709658178388E-3</c:v>
                </c:pt>
                <c:pt idx="869">
                  <c:v>-6.5104648018205489E-3</c:v>
                </c:pt>
                <c:pt idx="870">
                  <c:v>-6.5118922958193387E-3</c:v>
                </c:pt>
                <c:pt idx="871">
                  <c:v>-6.6996161391799629E-3</c:v>
                </c:pt>
                <c:pt idx="872">
                  <c:v>-6.7350026133708683E-3</c:v>
                </c:pt>
                <c:pt idx="873">
                  <c:v>-7.2514801575845264E-3</c:v>
                </c:pt>
                <c:pt idx="874">
                  <c:v>-7.2496750395176848E-3</c:v>
                </c:pt>
                <c:pt idx="875">
                  <c:v>-7.3170386502890115E-3</c:v>
                </c:pt>
                <c:pt idx="876">
                  <c:v>-6.6587893628308002E-3</c:v>
                </c:pt>
                <c:pt idx="877">
                  <c:v>-6.6728499993057334E-3</c:v>
                </c:pt>
                <c:pt idx="878">
                  <c:v>-6.6705877108686872E-3</c:v>
                </c:pt>
                <c:pt idx="879">
                  <c:v>-6.6053724212318662E-3</c:v>
                </c:pt>
                <c:pt idx="880">
                  <c:v>-6.6906681230908017E-3</c:v>
                </c:pt>
                <c:pt idx="881">
                  <c:v>-6.6193341240750863E-3</c:v>
                </c:pt>
                <c:pt idx="882">
                  <c:v>-6.5962604597382983E-3</c:v>
                </c:pt>
                <c:pt idx="883">
                  <c:v>-6.5977242969905243E-3</c:v>
                </c:pt>
                <c:pt idx="884">
                  <c:v>-6.6513399001369589E-3</c:v>
                </c:pt>
                <c:pt idx="885">
                  <c:v>-6.7866606488183904E-3</c:v>
                </c:pt>
                <c:pt idx="886">
                  <c:v>-6.817106319055884E-3</c:v>
                </c:pt>
                <c:pt idx="887">
                  <c:v>-7.1510524846246501E-3</c:v>
                </c:pt>
                <c:pt idx="888">
                  <c:v>-7.171912122895952E-3</c:v>
                </c:pt>
                <c:pt idx="889">
                  <c:v>-7.1250682230348666E-3</c:v>
                </c:pt>
                <c:pt idx="890">
                  <c:v>-6.9294526793230267E-3</c:v>
                </c:pt>
                <c:pt idx="891">
                  <c:v>-6.8608543970066788E-3</c:v>
                </c:pt>
                <c:pt idx="892">
                  <c:v>-7.2099528619204399E-3</c:v>
                </c:pt>
                <c:pt idx="893">
                  <c:v>-6.9169566664746438E-3</c:v>
                </c:pt>
                <c:pt idx="894">
                  <c:v>-6.9572686491362404E-3</c:v>
                </c:pt>
                <c:pt idx="895">
                  <c:v>-6.9320326644296991E-3</c:v>
                </c:pt>
                <c:pt idx="896">
                  <c:v>-6.9077386390533051E-3</c:v>
                </c:pt>
                <c:pt idx="897">
                  <c:v>-6.9137194162821516E-3</c:v>
                </c:pt>
                <c:pt idx="898">
                  <c:v>-6.4236621415333928E-3</c:v>
                </c:pt>
                <c:pt idx="899">
                  <c:v>-6.4927996765524933E-3</c:v>
                </c:pt>
                <c:pt idx="900">
                  <c:v>-6.4835150448719486E-3</c:v>
                </c:pt>
                <c:pt idx="901">
                  <c:v>-6.5719544352172716E-3</c:v>
                </c:pt>
                <c:pt idx="902">
                  <c:v>-6.270117448430975E-3</c:v>
                </c:pt>
                <c:pt idx="903">
                  <c:v>-6.2253891809076088E-3</c:v>
                </c:pt>
                <c:pt idx="904">
                  <c:v>-5.9232547130166607E-3</c:v>
                </c:pt>
                <c:pt idx="905">
                  <c:v>-5.8463927752844778E-3</c:v>
                </c:pt>
                <c:pt idx="906">
                  <c:v>-6.56279507732376E-3</c:v>
                </c:pt>
                <c:pt idx="907">
                  <c:v>-6.5146895620988767E-3</c:v>
                </c:pt>
                <c:pt idx="908">
                  <c:v>-6.451263996619337E-3</c:v>
                </c:pt>
                <c:pt idx="909">
                  <c:v>-6.5222281675382174E-3</c:v>
                </c:pt>
                <c:pt idx="910">
                  <c:v>-6.6426710039583798E-3</c:v>
                </c:pt>
                <c:pt idx="911">
                  <c:v>-6.6723317605232851E-3</c:v>
                </c:pt>
                <c:pt idx="912">
                  <c:v>-6.5234124527290237E-3</c:v>
                </c:pt>
                <c:pt idx="913">
                  <c:v>-6.5325588791594761E-3</c:v>
                </c:pt>
                <c:pt idx="914">
                  <c:v>-6.4937726125820546E-3</c:v>
                </c:pt>
                <c:pt idx="915">
                  <c:v>-6.5019332123679918E-3</c:v>
                </c:pt>
                <c:pt idx="916">
                  <c:v>-6.4545122987026953E-3</c:v>
                </c:pt>
                <c:pt idx="917">
                  <c:v>-6.399830351801695E-3</c:v>
                </c:pt>
                <c:pt idx="918">
                  <c:v>-6.5230475007494459E-3</c:v>
                </c:pt>
                <c:pt idx="919">
                  <c:v>-6.5798639279753841E-3</c:v>
                </c:pt>
                <c:pt idx="920">
                  <c:v>-6.641756021477826E-3</c:v>
                </c:pt>
                <c:pt idx="921">
                  <c:v>-6.7333838867114646E-3</c:v>
                </c:pt>
                <c:pt idx="922">
                  <c:v>-6.6942472931806746E-3</c:v>
                </c:pt>
                <c:pt idx="923">
                  <c:v>-6.8446593704547167E-3</c:v>
                </c:pt>
                <c:pt idx="924">
                  <c:v>-6.9530262419050014E-3</c:v>
                </c:pt>
                <c:pt idx="925">
                  <c:v>-6.8677980361772752E-3</c:v>
                </c:pt>
                <c:pt idx="926">
                  <c:v>-6.8555223062449827E-3</c:v>
                </c:pt>
                <c:pt idx="927">
                  <c:v>-6.8487726991910709E-3</c:v>
                </c:pt>
                <c:pt idx="928">
                  <c:v>-7.2083070438711322E-3</c:v>
                </c:pt>
                <c:pt idx="929">
                  <c:v>-7.0756608355681695E-3</c:v>
                </c:pt>
                <c:pt idx="930">
                  <c:v>-7.0998328177862792E-3</c:v>
                </c:pt>
                <c:pt idx="931">
                  <c:v>-7.0039158103269048E-3</c:v>
                </c:pt>
                <c:pt idx="932">
                  <c:v>-7.2430151212841461E-3</c:v>
                </c:pt>
                <c:pt idx="933">
                  <c:v>-7.2001601951784868E-3</c:v>
                </c:pt>
                <c:pt idx="934">
                  <c:v>-7.5946374214767758E-3</c:v>
                </c:pt>
                <c:pt idx="935">
                  <c:v>-7.5681293850065594E-3</c:v>
                </c:pt>
                <c:pt idx="936">
                  <c:v>-7.5510351299624317E-3</c:v>
                </c:pt>
                <c:pt idx="937">
                  <c:v>-7.6230152742074722E-3</c:v>
                </c:pt>
                <c:pt idx="938">
                  <c:v>-7.7841997218292954E-3</c:v>
                </c:pt>
                <c:pt idx="939">
                  <c:v>-7.8756787606182148E-3</c:v>
                </c:pt>
                <c:pt idx="940">
                  <c:v>-7.9145164254479476E-3</c:v>
                </c:pt>
                <c:pt idx="941">
                  <c:v>-8.0492292087940131E-3</c:v>
                </c:pt>
                <c:pt idx="942">
                  <c:v>-8.1584395203184255E-3</c:v>
                </c:pt>
                <c:pt idx="943">
                  <c:v>-8.1521701055480497E-3</c:v>
                </c:pt>
                <c:pt idx="944">
                  <c:v>-8.30166895255759E-3</c:v>
                </c:pt>
                <c:pt idx="945">
                  <c:v>-8.5270221617389889E-3</c:v>
                </c:pt>
                <c:pt idx="946">
                  <c:v>-8.5650329225824794E-3</c:v>
                </c:pt>
                <c:pt idx="947">
                  <c:v>-8.4492445840524261E-3</c:v>
                </c:pt>
                <c:pt idx="948">
                  <c:v>-8.4147704132132399E-3</c:v>
                </c:pt>
                <c:pt idx="949">
                  <c:v>-8.6271841938618775E-3</c:v>
                </c:pt>
                <c:pt idx="950">
                  <c:v>-8.6293079562418454E-3</c:v>
                </c:pt>
                <c:pt idx="951">
                  <c:v>-7.5060853402975861E-3</c:v>
                </c:pt>
                <c:pt idx="952">
                  <c:v>-7.4351549573921961E-3</c:v>
                </c:pt>
                <c:pt idx="953">
                  <c:v>-7.2853013521563953E-3</c:v>
                </c:pt>
                <c:pt idx="954">
                  <c:v>-7.2157109537741692E-3</c:v>
                </c:pt>
                <c:pt idx="955">
                  <c:v>-7.3732625665598565E-3</c:v>
                </c:pt>
                <c:pt idx="956">
                  <c:v>-7.4433173566181877E-3</c:v>
                </c:pt>
                <c:pt idx="957">
                  <c:v>-7.6991296453088722E-3</c:v>
                </c:pt>
                <c:pt idx="958">
                  <c:v>-7.7413657847206704E-3</c:v>
                </c:pt>
                <c:pt idx="959">
                  <c:v>-7.9749223826978757E-3</c:v>
                </c:pt>
                <c:pt idx="960">
                  <c:v>-7.968147129579755E-3</c:v>
                </c:pt>
                <c:pt idx="961">
                  <c:v>-8.0165865645656833E-3</c:v>
                </c:pt>
                <c:pt idx="962">
                  <c:v>-8.072554466013012E-3</c:v>
                </c:pt>
                <c:pt idx="963">
                  <c:v>-8.1413343163787583E-3</c:v>
                </c:pt>
                <c:pt idx="964">
                  <c:v>-7.3499735460518523E-3</c:v>
                </c:pt>
                <c:pt idx="965">
                  <c:v>-7.3874201644458098E-3</c:v>
                </c:pt>
                <c:pt idx="966">
                  <c:v>-7.3736435589283828E-3</c:v>
                </c:pt>
                <c:pt idx="967">
                  <c:v>-7.3490991424494624E-3</c:v>
                </c:pt>
                <c:pt idx="968">
                  <c:v>-7.328782362535073E-3</c:v>
                </c:pt>
                <c:pt idx="969">
                  <c:v>-7.322146470664208E-3</c:v>
                </c:pt>
                <c:pt idx="970">
                  <c:v>-7.2938399803872782E-3</c:v>
                </c:pt>
                <c:pt idx="971">
                  <c:v>-7.2866157334286362E-3</c:v>
                </c:pt>
                <c:pt idx="972">
                  <c:v>-7.2155322019417404E-3</c:v>
                </c:pt>
                <c:pt idx="973">
                  <c:v>-7.1636326229304421E-3</c:v>
                </c:pt>
                <c:pt idx="974">
                  <c:v>-7.1935611187206473E-3</c:v>
                </c:pt>
                <c:pt idx="975">
                  <c:v>-7.0511296951302621E-3</c:v>
                </c:pt>
                <c:pt idx="976">
                  <c:v>-7.035622416221016E-3</c:v>
                </c:pt>
                <c:pt idx="977">
                  <c:v>-7.0865385244508533E-3</c:v>
                </c:pt>
                <c:pt idx="978">
                  <c:v>-6.9297302135099244E-3</c:v>
                </c:pt>
                <c:pt idx="979">
                  <c:v>-6.890872926652066E-3</c:v>
                </c:pt>
                <c:pt idx="980">
                  <c:v>-6.8900702496992837E-3</c:v>
                </c:pt>
                <c:pt idx="981">
                  <c:v>-7.7840441406312397E-3</c:v>
                </c:pt>
                <c:pt idx="982">
                  <c:v>-7.8215575211855824E-3</c:v>
                </c:pt>
                <c:pt idx="983">
                  <c:v>-8.0017159774791527E-3</c:v>
                </c:pt>
                <c:pt idx="984">
                  <c:v>-8.0749265879531094E-3</c:v>
                </c:pt>
                <c:pt idx="985">
                  <c:v>-8.0971271899942538E-3</c:v>
                </c:pt>
                <c:pt idx="986">
                  <c:v>-8.0867668415625649E-3</c:v>
                </c:pt>
                <c:pt idx="987">
                  <c:v>-8.1035006072873728E-3</c:v>
                </c:pt>
                <c:pt idx="988">
                  <c:v>-7.5659129031298957E-3</c:v>
                </c:pt>
                <c:pt idx="989">
                  <c:v>-7.6626982506264622E-3</c:v>
                </c:pt>
                <c:pt idx="990">
                  <c:v>-7.6886906504437247E-3</c:v>
                </c:pt>
                <c:pt idx="991">
                  <c:v>-7.698549346754081E-3</c:v>
                </c:pt>
                <c:pt idx="992">
                  <c:v>-7.5117043269095586E-3</c:v>
                </c:pt>
                <c:pt idx="993">
                  <c:v>-7.4903345024515912E-3</c:v>
                </c:pt>
                <c:pt idx="994">
                  <c:v>-7.9773329800722423E-3</c:v>
                </c:pt>
                <c:pt idx="995">
                  <c:v>-7.9801075534572628E-3</c:v>
                </c:pt>
                <c:pt idx="996">
                  <c:v>-7.9591911855940514E-3</c:v>
                </c:pt>
                <c:pt idx="997">
                  <c:v>-7.9682799172812006E-3</c:v>
                </c:pt>
                <c:pt idx="998">
                  <c:v>-7.8132994459875361E-3</c:v>
                </c:pt>
                <c:pt idx="999">
                  <c:v>-7.7884583933097102E-3</c:v>
                </c:pt>
                <c:pt idx="1000">
                  <c:v>-7.6078542685722025E-3</c:v>
                </c:pt>
                <c:pt idx="1001">
                  <c:v>-7.4751929002778673E-3</c:v>
                </c:pt>
                <c:pt idx="1002">
                  <c:v>-7.5932450131259996E-3</c:v>
                </c:pt>
                <c:pt idx="1003">
                  <c:v>-7.7324220972884083E-3</c:v>
                </c:pt>
                <c:pt idx="1004">
                  <c:v>-7.5976450001968487E-3</c:v>
                </c:pt>
                <c:pt idx="1005">
                  <c:v>-7.6172462395972902E-3</c:v>
                </c:pt>
                <c:pt idx="1006">
                  <c:v>-7.691778446670355E-3</c:v>
                </c:pt>
                <c:pt idx="1007">
                  <c:v>-7.8701784750067789E-3</c:v>
                </c:pt>
                <c:pt idx="1008">
                  <c:v>-7.9834912634304013E-3</c:v>
                </c:pt>
                <c:pt idx="1009">
                  <c:v>-7.9866180497284358E-3</c:v>
                </c:pt>
                <c:pt idx="1010">
                  <c:v>-7.9871149581443798E-3</c:v>
                </c:pt>
                <c:pt idx="1011">
                  <c:v>-8.126557020352549E-3</c:v>
                </c:pt>
                <c:pt idx="1012">
                  <c:v>-8.1242039553790189E-3</c:v>
                </c:pt>
                <c:pt idx="1013">
                  <c:v>-8.1269406398612742E-3</c:v>
                </c:pt>
                <c:pt idx="1014">
                  <c:v>-8.1913995575904584E-3</c:v>
                </c:pt>
                <c:pt idx="1015">
                  <c:v>-8.1960359494539087E-3</c:v>
                </c:pt>
                <c:pt idx="1016">
                  <c:v>-8.1316867870551146E-3</c:v>
                </c:pt>
                <c:pt idx="1017">
                  <c:v>-8.1389650788061419E-3</c:v>
                </c:pt>
                <c:pt idx="1018">
                  <c:v>-8.5087883623358347E-3</c:v>
                </c:pt>
                <c:pt idx="1019">
                  <c:v>-8.3956595406605231E-3</c:v>
                </c:pt>
                <c:pt idx="1020">
                  <c:v>-8.2352941985903427E-3</c:v>
                </c:pt>
                <c:pt idx="1021">
                  <c:v>-7.9132720764252922E-3</c:v>
                </c:pt>
                <c:pt idx="1022">
                  <c:v>-8.0509216991890634E-3</c:v>
                </c:pt>
                <c:pt idx="1023">
                  <c:v>-7.2322454447375948E-3</c:v>
                </c:pt>
                <c:pt idx="1024">
                  <c:v>-7.2433908444925347E-3</c:v>
                </c:pt>
                <c:pt idx="1025">
                  <c:v>-6.2549121983597545E-3</c:v>
                </c:pt>
                <c:pt idx="1026">
                  <c:v>-6.2798297025787441E-3</c:v>
                </c:pt>
                <c:pt idx="1027">
                  <c:v>-6.2773411639591263E-3</c:v>
                </c:pt>
                <c:pt idx="1028">
                  <c:v>-6.266454909771341E-3</c:v>
                </c:pt>
                <c:pt idx="1029">
                  <c:v>-6.3055767353379063E-3</c:v>
                </c:pt>
                <c:pt idx="1030">
                  <c:v>-6.0541253399282154E-3</c:v>
                </c:pt>
                <c:pt idx="1031">
                  <c:v>-6.1951730491566076E-3</c:v>
                </c:pt>
                <c:pt idx="1032">
                  <c:v>-6.2334714130543919E-3</c:v>
                </c:pt>
                <c:pt idx="1033">
                  <c:v>-6.1429816658471678E-3</c:v>
                </c:pt>
                <c:pt idx="1034">
                  <c:v>-6.2042003408623245E-3</c:v>
                </c:pt>
                <c:pt idx="1035">
                  <c:v>-6.2451843222383081E-3</c:v>
                </c:pt>
                <c:pt idx="1036">
                  <c:v>-6.2088915840983697E-3</c:v>
                </c:pt>
                <c:pt idx="1037">
                  <c:v>-6.0593658566718547E-3</c:v>
                </c:pt>
                <c:pt idx="1038">
                  <c:v>-5.8936074632554517E-3</c:v>
                </c:pt>
                <c:pt idx="1039">
                  <c:v>-5.9936632490808521E-3</c:v>
                </c:pt>
                <c:pt idx="1040">
                  <c:v>-6.0317984837405178E-3</c:v>
                </c:pt>
                <c:pt idx="1041">
                  <c:v>-5.9932064273650904E-3</c:v>
                </c:pt>
                <c:pt idx="1042">
                  <c:v>-5.9428866801691342E-3</c:v>
                </c:pt>
                <c:pt idx="1043">
                  <c:v>-5.9233791175675021E-3</c:v>
                </c:pt>
                <c:pt idx="1044">
                  <c:v>-5.894087006662674E-3</c:v>
                </c:pt>
                <c:pt idx="1045">
                  <c:v>-5.8971166584889144E-3</c:v>
                </c:pt>
                <c:pt idx="1046">
                  <c:v>-5.7848741088198444E-3</c:v>
                </c:pt>
                <c:pt idx="1047">
                  <c:v>-5.7923512566958879E-3</c:v>
                </c:pt>
                <c:pt idx="1048">
                  <c:v>-5.7342930186384455E-3</c:v>
                </c:pt>
                <c:pt idx="1049">
                  <c:v>-5.4046318733538675E-3</c:v>
                </c:pt>
                <c:pt idx="1050">
                  <c:v>-5.5244048261918382E-3</c:v>
                </c:pt>
                <c:pt idx="1051">
                  <c:v>-5.5113293148840838E-3</c:v>
                </c:pt>
                <c:pt idx="1052">
                  <c:v>-5.3602080763366453E-3</c:v>
                </c:pt>
                <c:pt idx="1053">
                  <c:v>-5.8115126335052001E-3</c:v>
                </c:pt>
                <c:pt idx="1054">
                  <c:v>-5.9222570310210471E-3</c:v>
                </c:pt>
                <c:pt idx="1055">
                  <c:v>-6.5625136594081824E-3</c:v>
                </c:pt>
                <c:pt idx="1056">
                  <c:v>-6.5642464388982833E-3</c:v>
                </c:pt>
                <c:pt idx="1057">
                  <c:v>-6.6163045501581256E-3</c:v>
                </c:pt>
                <c:pt idx="1058">
                  <c:v>-6.3347071392251715E-3</c:v>
                </c:pt>
                <c:pt idx="1059">
                  <c:v>-6.1682747064556506E-3</c:v>
                </c:pt>
                <c:pt idx="1060">
                  <c:v>-6.4323922118312022E-3</c:v>
                </c:pt>
                <c:pt idx="1061">
                  <c:v>-6.4794961120347603E-3</c:v>
                </c:pt>
                <c:pt idx="1062">
                  <c:v>-6.4021497197839228E-3</c:v>
                </c:pt>
                <c:pt idx="1063">
                  <c:v>-6.5400771696747188E-3</c:v>
                </c:pt>
                <c:pt idx="1064">
                  <c:v>-6.5368308549309398E-3</c:v>
                </c:pt>
                <c:pt idx="1065">
                  <c:v>-6.5260596592665822E-3</c:v>
                </c:pt>
                <c:pt idx="1066">
                  <c:v>-6.5511470174469686E-3</c:v>
                </c:pt>
                <c:pt idx="1067">
                  <c:v>-6.6699123272618861E-3</c:v>
                </c:pt>
                <c:pt idx="1068">
                  <c:v>-6.8346757017725898E-3</c:v>
                </c:pt>
                <c:pt idx="1069">
                  <c:v>-6.8213953768255378E-3</c:v>
                </c:pt>
                <c:pt idx="1070">
                  <c:v>-6.7840970237410527E-3</c:v>
                </c:pt>
                <c:pt idx="1071">
                  <c:v>-6.8016258829734898E-3</c:v>
                </c:pt>
                <c:pt idx="1072">
                  <c:v>-6.83132217494869E-3</c:v>
                </c:pt>
                <c:pt idx="1073">
                  <c:v>-6.7755540965018053E-3</c:v>
                </c:pt>
                <c:pt idx="1074">
                  <c:v>-6.6304938366465926E-3</c:v>
                </c:pt>
                <c:pt idx="1075">
                  <c:v>-6.4671994659381222E-3</c:v>
                </c:pt>
                <c:pt idx="1076">
                  <c:v>-6.6056847961637449E-3</c:v>
                </c:pt>
                <c:pt idx="1077">
                  <c:v>-6.2648384644478231E-3</c:v>
                </c:pt>
                <c:pt idx="1078">
                  <c:v>-6.3309340367580028E-3</c:v>
                </c:pt>
                <c:pt idx="1079">
                  <c:v>-6.6366984311374364E-3</c:v>
                </c:pt>
                <c:pt idx="1080">
                  <c:v>-6.7044363374644533E-3</c:v>
                </c:pt>
                <c:pt idx="1081">
                  <c:v>-6.810906939349385E-3</c:v>
                </c:pt>
                <c:pt idx="1082">
                  <c:v>-6.6920856158433784E-3</c:v>
                </c:pt>
                <c:pt idx="1083">
                  <c:v>-6.680905752827363E-3</c:v>
                </c:pt>
                <c:pt idx="1084">
                  <c:v>-6.4030016197988661E-3</c:v>
                </c:pt>
                <c:pt idx="1085">
                  <c:v>-6.5360732707134351E-3</c:v>
                </c:pt>
                <c:pt idx="1086">
                  <c:v>-6.4721392387533834E-3</c:v>
                </c:pt>
                <c:pt idx="1087">
                  <c:v>-6.4267917491655346E-3</c:v>
                </c:pt>
                <c:pt idx="1088">
                  <c:v>-6.5832318024363389E-3</c:v>
                </c:pt>
                <c:pt idx="1089">
                  <c:v>-6.7596050175034233E-3</c:v>
                </c:pt>
                <c:pt idx="1090">
                  <c:v>-6.8071304297254139E-3</c:v>
                </c:pt>
                <c:pt idx="1091">
                  <c:v>-6.8163412970147419E-3</c:v>
                </c:pt>
                <c:pt idx="1092">
                  <c:v>-6.7848755476642569E-3</c:v>
                </c:pt>
                <c:pt idx="1093">
                  <c:v>-6.5730912871888279E-3</c:v>
                </c:pt>
                <c:pt idx="1094">
                  <c:v>-6.3925695812175696E-3</c:v>
                </c:pt>
                <c:pt idx="1095">
                  <c:v>-6.3778409835748059E-3</c:v>
                </c:pt>
                <c:pt idx="1096">
                  <c:v>-6.4175949460026959E-3</c:v>
                </c:pt>
                <c:pt idx="1097">
                  <c:v>-6.4013060318875549E-3</c:v>
                </c:pt>
                <c:pt idx="1098">
                  <c:v>-6.2571389711606256E-3</c:v>
                </c:pt>
                <c:pt idx="1099">
                  <c:v>-6.3500570812658362E-3</c:v>
                </c:pt>
                <c:pt idx="1100">
                  <c:v>-6.1616280658766866E-3</c:v>
                </c:pt>
                <c:pt idx="1101">
                  <c:v>-6.0560951836642349E-3</c:v>
                </c:pt>
                <c:pt idx="1102">
                  <c:v>-6.0597001668682713E-3</c:v>
                </c:pt>
                <c:pt idx="1103">
                  <c:v>-5.9458253656702893E-3</c:v>
                </c:pt>
                <c:pt idx="1104">
                  <c:v>-6.1230137918709413E-3</c:v>
                </c:pt>
                <c:pt idx="1105">
                  <c:v>-6.2675833593185317E-3</c:v>
                </c:pt>
                <c:pt idx="1106">
                  <c:v>-6.3073778188246533E-3</c:v>
                </c:pt>
                <c:pt idx="1107">
                  <c:v>-6.7314408020422174E-3</c:v>
                </c:pt>
                <c:pt idx="1108">
                  <c:v>-6.740997077137649E-3</c:v>
                </c:pt>
                <c:pt idx="1109">
                  <c:v>-6.897152754327388E-3</c:v>
                </c:pt>
                <c:pt idx="1110">
                  <c:v>-6.8946229066495423E-3</c:v>
                </c:pt>
                <c:pt idx="1111">
                  <c:v>-6.972693354646853E-3</c:v>
                </c:pt>
                <c:pt idx="1112">
                  <c:v>-7.3756504408757379E-3</c:v>
                </c:pt>
                <c:pt idx="1113">
                  <c:v>-7.4358134388794461E-3</c:v>
                </c:pt>
                <c:pt idx="1114">
                  <c:v>-7.9335477670204775E-3</c:v>
                </c:pt>
                <c:pt idx="1115">
                  <c:v>-7.9422647263655329E-3</c:v>
                </c:pt>
                <c:pt idx="1116">
                  <c:v>-7.9320569768533689E-3</c:v>
                </c:pt>
                <c:pt idx="1117">
                  <c:v>-8.0546340251013045E-3</c:v>
                </c:pt>
                <c:pt idx="1118">
                  <c:v>-8.215865777586798E-3</c:v>
                </c:pt>
                <c:pt idx="1119">
                  <c:v>-8.2251412439930151E-3</c:v>
                </c:pt>
                <c:pt idx="1120">
                  <c:v>-8.1844392978452415E-3</c:v>
                </c:pt>
                <c:pt idx="1121">
                  <c:v>-1.5381021130994795E-2</c:v>
                </c:pt>
                <c:pt idx="1122">
                  <c:v>-1.821021074604217E-2</c:v>
                </c:pt>
                <c:pt idx="1123">
                  <c:v>-2.0673970776150335E-2</c:v>
                </c:pt>
                <c:pt idx="1124">
                  <c:v>-2.2430784491050799E-2</c:v>
                </c:pt>
                <c:pt idx="1125">
                  <c:v>-2.3693222603412847E-2</c:v>
                </c:pt>
                <c:pt idx="1126">
                  <c:v>-2.471752550769947E-2</c:v>
                </c:pt>
                <c:pt idx="1127">
                  <c:v>-2.5783239259567999E-2</c:v>
                </c:pt>
                <c:pt idx="1128">
                  <c:v>-2.6483054067505639E-2</c:v>
                </c:pt>
                <c:pt idx="1129">
                  <c:v>-2.7002824519558259E-2</c:v>
                </c:pt>
                <c:pt idx="1130">
                  <c:v>-2.7742366127175552E-2</c:v>
                </c:pt>
                <c:pt idx="1131">
                  <c:v>-2.8319935385755252E-2</c:v>
                </c:pt>
                <c:pt idx="1132">
                  <c:v>-2.8680369724062627E-2</c:v>
                </c:pt>
                <c:pt idx="1133">
                  <c:v>-2.9159480546160611E-2</c:v>
                </c:pt>
                <c:pt idx="1134">
                  <c:v>-2.9286221502778535E-2</c:v>
                </c:pt>
                <c:pt idx="1135">
                  <c:v>-2.9357843993555809E-2</c:v>
                </c:pt>
                <c:pt idx="1136">
                  <c:v>-2.9335412496390476E-2</c:v>
                </c:pt>
                <c:pt idx="1137">
                  <c:v>-2.9143144829191704E-2</c:v>
                </c:pt>
                <c:pt idx="1138">
                  <c:v>-2.8903796282169408E-2</c:v>
                </c:pt>
                <c:pt idx="1139">
                  <c:v>-2.8906706394348426E-2</c:v>
                </c:pt>
                <c:pt idx="1140">
                  <c:v>-2.8532139247508716E-2</c:v>
                </c:pt>
                <c:pt idx="1141">
                  <c:v>-2.7980313605746279E-2</c:v>
                </c:pt>
                <c:pt idx="1142">
                  <c:v>-2.7303593319673018E-2</c:v>
                </c:pt>
                <c:pt idx="1143">
                  <c:v>-2.6526543273228783E-2</c:v>
                </c:pt>
                <c:pt idx="1144">
                  <c:v>-2.5616832622119601E-2</c:v>
                </c:pt>
                <c:pt idx="1145">
                  <c:v>-2.4476026953337348E-2</c:v>
                </c:pt>
                <c:pt idx="1146">
                  <c:v>-2.3401429152308171E-2</c:v>
                </c:pt>
                <c:pt idx="1147">
                  <c:v>-2.1867658555268864E-2</c:v>
                </c:pt>
                <c:pt idx="1148">
                  <c:v>-1.9813002787818484E-2</c:v>
                </c:pt>
                <c:pt idx="1149">
                  <c:v>-1.7022030592159627E-2</c:v>
                </c:pt>
                <c:pt idx="1150">
                  <c:v>-9.9795558829359945E-3</c:v>
                </c:pt>
                <c:pt idx="1151">
                  <c:v>-8.9389001504683423E-3</c:v>
                </c:pt>
                <c:pt idx="1152">
                  <c:v>-8.8905955480717593E-3</c:v>
                </c:pt>
                <c:pt idx="1153">
                  <c:v>-8.8976107255494749E-3</c:v>
                </c:pt>
                <c:pt idx="1154">
                  <c:v>-8.8820931809803563E-3</c:v>
                </c:pt>
                <c:pt idx="1155">
                  <c:v>-8.9324746174850832E-3</c:v>
                </c:pt>
                <c:pt idx="1156">
                  <c:v>-9.0158499430501634E-3</c:v>
                </c:pt>
                <c:pt idx="1157">
                  <c:v>-9.0706629413516253E-3</c:v>
                </c:pt>
                <c:pt idx="1158">
                  <c:v>-9.2180079142198008E-3</c:v>
                </c:pt>
                <c:pt idx="1159">
                  <c:v>-9.2981036505577312E-3</c:v>
                </c:pt>
                <c:pt idx="1160">
                  <c:v>-9.3071172096756659E-3</c:v>
                </c:pt>
                <c:pt idx="1161">
                  <c:v>-9.1011197404240497E-3</c:v>
                </c:pt>
                <c:pt idx="1162">
                  <c:v>-9.0257647479677419E-3</c:v>
                </c:pt>
                <c:pt idx="1163">
                  <c:v>-8.9951563281834845E-3</c:v>
                </c:pt>
                <c:pt idx="1164">
                  <c:v>-8.8236676564388654E-3</c:v>
                </c:pt>
                <c:pt idx="1165">
                  <c:v>-8.6993549714270927E-3</c:v>
                </c:pt>
                <c:pt idx="1166">
                  <c:v>-8.5441543797859822E-3</c:v>
                </c:pt>
                <c:pt idx="1167">
                  <c:v>-8.561853725034858E-3</c:v>
                </c:pt>
                <c:pt idx="1168">
                  <c:v>-8.4260852660577503E-3</c:v>
                </c:pt>
                <c:pt idx="1169">
                  <c:v>-8.2698459954550461E-3</c:v>
                </c:pt>
                <c:pt idx="1170">
                  <c:v>-8.2456841220062971E-3</c:v>
                </c:pt>
                <c:pt idx="1171">
                  <c:v>-8.1873717039751027E-3</c:v>
                </c:pt>
                <c:pt idx="1172">
                  <c:v>-8.1972652835092703E-3</c:v>
                </c:pt>
                <c:pt idx="1173">
                  <c:v>-8.0742942502671604E-3</c:v>
                </c:pt>
                <c:pt idx="1174">
                  <c:v>-8.0965259307463448E-3</c:v>
                </c:pt>
                <c:pt idx="1175">
                  <c:v>-8.0038679832174983E-3</c:v>
                </c:pt>
                <c:pt idx="1176">
                  <c:v>-7.9196782011702049E-3</c:v>
                </c:pt>
                <c:pt idx="1177">
                  <c:v>-7.8900079843447404E-3</c:v>
                </c:pt>
                <c:pt idx="1178">
                  <c:v>-7.9050158850677496E-3</c:v>
                </c:pt>
                <c:pt idx="1179">
                  <c:v>-7.9072093572212822E-3</c:v>
                </c:pt>
                <c:pt idx="1180">
                  <c:v>-7.9016642878815407E-3</c:v>
                </c:pt>
                <c:pt idx="1181">
                  <c:v>-8.7226430250797113E-3</c:v>
                </c:pt>
                <c:pt idx="1182">
                  <c:v>-7.3257111864790409E-3</c:v>
                </c:pt>
                <c:pt idx="1183">
                  <c:v>-7.3235197643585033E-3</c:v>
                </c:pt>
                <c:pt idx="1184">
                  <c:v>-7.1888073597291945E-3</c:v>
                </c:pt>
                <c:pt idx="1185">
                  <c:v>-7.0689389388477073E-3</c:v>
                </c:pt>
                <c:pt idx="1186">
                  <c:v>-6.9773164026359748E-3</c:v>
                </c:pt>
                <c:pt idx="1187">
                  <c:v>-6.9719130356004824E-3</c:v>
                </c:pt>
                <c:pt idx="1188">
                  <c:v>-6.2950575778472264E-3</c:v>
                </c:pt>
                <c:pt idx="1189">
                  <c:v>-6.2214861951961509E-3</c:v>
                </c:pt>
                <c:pt idx="1190">
                  <c:v>-6.2169505089500893E-3</c:v>
                </c:pt>
                <c:pt idx="1191">
                  <c:v>-6.3304575454828163E-3</c:v>
                </c:pt>
                <c:pt idx="1192">
                  <c:v>-6.4042450060217675E-3</c:v>
                </c:pt>
                <c:pt idx="1193">
                  <c:v>-6.4034807902387863E-3</c:v>
                </c:pt>
                <c:pt idx="1194">
                  <c:v>-6.4076791952252963E-3</c:v>
                </c:pt>
                <c:pt idx="1195">
                  <c:v>-6.3813758918222687E-3</c:v>
                </c:pt>
                <c:pt idx="1196">
                  <c:v>-6.3991122612694282E-3</c:v>
                </c:pt>
                <c:pt idx="1197">
                  <c:v>-6.2429336713694912E-3</c:v>
                </c:pt>
                <c:pt idx="1198">
                  <c:v>-6.2269871138235329E-3</c:v>
                </c:pt>
                <c:pt idx="1199">
                  <c:v>-6.2728770383221012E-3</c:v>
                </c:pt>
                <c:pt idx="1200">
                  <c:v>-6.1252701503388121E-3</c:v>
                </c:pt>
                <c:pt idx="1201">
                  <c:v>-6.0105052716158828E-3</c:v>
                </c:pt>
                <c:pt idx="1202">
                  <c:v>-5.9209425513307825E-3</c:v>
                </c:pt>
                <c:pt idx="1203">
                  <c:v>-6.0286161454070264E-3</c:v>
                </c:pt>
                <c:pt idx="1204">
                  <c:v>-5.9978160528229435E-3</c:v>
                </c:pt>
                <c:pt idx="1205">
                  <c:v>-6.1024734872519755E-3</c:v>
                </c:pt>
                <c:pt idx="1206">
                  <c:v>-6.2489640610467944E-3</c:v>
                </c:pt>
                <c:pt idx="1207">
                  <c:v>-6.3239168071157741E-3</c:v>
                </c:pt>
                <c:pt idx="1208">
                  <c:v>-6.3277507173201616E-3</c:v>
                </c:pt>
                <c:pt idx="1209">
                  <c:v>-6.3015883010990176E-3</c:v>
                </c:pt>
                <c:pt idx="1210">
                  <c:v>-6.2579961666072098E-3</c:v>
                </c:pt>
                <c:pt idx="1211">
                  <c:v>-6.148459131781984E-3</c:v>
                </c:pt>
                <c:pt idx="1212">
                  <c:v>-6.9723571630065763E-3</c:v>
                </c:pt>
                <c:pt idx="1213">
                  <c:v>-6.947321638831592E-3</c:v>
                </c:pt>
                <c:pt idx="1214">
                  <c:v>-6.9556324396523438E-3</c:v>
                </c:pt>
                <c:pt idx="1215">
                  <c:v>-5.9211979073867478E-3</c:v>
                </c:pt>
                <c:pt idx="1216">
                  <c:v>-2.1884536772605948E-3</c:v>
                </c:pt>
                <c:pt idx="1217">
                  <c:v>-1.6987477116107499E-3</c:v>
                </c:pt>
                <c:pt idx="1218">
                  <c:v>-1.8077512530553196E-3</c:v>
                </c:pt>
                <c:pt idx="1219">
                  <c:v>-1.9380766381600287E-3</c:v>
                </c:pt>
                <c:pt idx="1220">
                  <c:v>-1.9622374867523471E-3</c:v>
                </c:pt>
                <c:pt idx="1221">
                  <c:v>-1.9932368883960154E-3</c:v>
                </c:pt>
                <c:pt idx="1222">
                  <c:v>-1.9998568923472546E-3</c:v>
                </c:pt>
                <c:pt idx="1223">
                  <c:v>-1.8858050964702996E-3</c:v>
                </c:pt>
                <c:pt idx="1224">
                  <c:v>-2.0346759224207141E-3</c:v>
                </c:pt>
                <c:pt idx="1225">
                  <c:v>-1.9263551089871433E-3</c:v>
                </c:pt>
                <c:pt idx="1226">
                  <c:v>-1.7656318244474948E-3</c:v>
                </c:pt>
                <c:pt idx="1227">
                  <c:v>-1.815716640625303E-3</c:v>
                </c:pt>
                <c:pt idx="1228">
                  <c:v>-1.839201993052304E-3</c:v>
                </c:pt>
                <c:pt idx="1229">
                  <c:v>-1.405727175069307E-3</c:v>
                </c:pt>
                <c:pt idx="1230">
                  <c:v>-1.4308759979158661E-3</c:v>
                </c:pt>
                <c:pt idx="1231">
                  <c:v>-1.5647790354580988E-3</c:v>
                </c:pt>
                <c:pt idx="1232">
                  <c:v>-1.4964571508211798E-3</c:v>
                </c:pt>
                <c:pt idx="1233">
                  <c:v>-1.5547438392669172E-3</c:v>
                </c:pt>
                <c:pt idx="1234">
                  <c:v>-5.6876603546095889E-4</c:v>
                </c:pt>
                <c:pt idx="1235">
                  <c:v>-6.276407910606966E-4</c:v>
                </c:pt>
                <c:pt idx="1236">
                  <c:v>-6.6567112944180759E-4</c:v>
                </c:pt>
                <c:pt idx="1237">
                  <c:v>-5.486472433876774E-4</c:v>
                </c:pt>
                <c:pt idx="1238">
                  <c:v>-4.2273611251785262E-4</c:v>
                </c:pt>
                <c:pt idx="1239">
                  <c:v>-3.4959147511379185E-4</c:v>
                </c:pt>
                <c:pt idx="1240">
                  <c:v>-4.2532465874525575E-4</c:v>
                </c:pt>
                <c:pt idx="1241">
                  <c:v>-2.6765361141184787E-4</c:v>
                </c:pt>
                <c:pt idx="1242">
                  <c:v>1.1117586088426976E-3</c:v>
                </c:pt>
                <c:pt idx="1243">
                  <c:v>1.2466519476931736E-3</c:v>
                </c:pt>
                <c:pt idx="1244">
                  <c:v>1.0812901867681309E-3</c:v>
                </c:pt>
                <c:pt idx="1245">
                  <c:v>8.4248556326118641E-4</c:v>
                </c:pt>
                <c:pt idx="1246">
                  <c:v>-1.1075438005395035E-3</c:v>
                </c:pt>
                <c:pt idx="1247">
                  <c:v>-1.4918247693708839E-3</c:v>
                </c:pt>
                <c:pt idx="1248">
                  <c:v>-1.6533861601553713E-3</c:v>
                </c:pt>
                <c:pt idx="1249">
                  <c:v>-1.5848181168463035E-3</c:v>
                </c:pt>
                <c:pt idx="1250">
                  <c:v>-1.5040939217908604E-3</c:v>
                </c:pt>
                <c:pt idx="1251">
                  <c:v>-1.4493697551350194E-3</c:v>
                </c:pt>
                <c:pt idx="1252">
                  <c:v>-1.4281633405492326E-3</c:v>
                </c:pt>
                <c:pt idx="1253">
                  <c:v>-1.5492706732427811E-3</c:v>
                </c:pt>
                <c:pt idx="1254">
                  <c:v>-1.5416355664062513E-3</c:v>
                </c:pt>
                <c:pt idx="1255">
                  <c:v>-1.6430835834039328E-3</c:v>
                </c:pt>
                <c:pt idx="1256">
                  <c:v>-1.7309438628883601E-3</c:v>
                </c:pt>
                <c:pt idx="1257">
                  <c:v>-1.7580900786296743E-3</c:v>
                </c:pt>
                <c:pt idx="1258">
                  <c:v>-1.7395210332013539E-3</c:v>
                </c:pt>
                <c:pt idx="1259">
                  <c:v>-2.1319845006884438E-3</c:v>
                </c:pt>
                <c:pt idx="1260">
                  <c:v>-1.5894812819408199E-3</c:v>
                </c:pt>
                <c:pt idx="1261">
                  <c:v>-1.4328374903453782E-3</c:v>
                </c:pt>
                <c:pt idx="1262">
                  <c:v>-1.5544952033526467E-3</c:v>
                </c:pt>
                <c:pt idx="1263">
                  <c:v>-1.2092553709176432E-3</c:v>
                </c:pt>
                <c:pt idx="1264">
                  <c:v>-2.202978051624116E-3</c:v>
                </c:pt>
                <c:pt idx="1265">
                  <c:v>-2.0720623843382777E-3</c:v>
                </c:pt>
                <c:pt idx="1266">
                  <c:v>-2.0320665471159939E-3</c:v>
                </c:pt>
                <c:pt idx="1267">
                  <c:v>-2.2126991706355684E-3</c:v>
                </c:pt>
                <c:pt idx="1268">
                  <c:v>-2.1845440251223158E-3</c:v>
                </c:pt>
                <c:pt idx="1269">
                  <c:v>-2.345530552862983E-3</c:v>
                </c:pt>
                <c:pt idx="1270">
                  <c:v>-2.1215398256026353E-3</c:v>
                </c:pt>
                <c:pt idx="1271">
                  <c:v>-2.4683033666725428E-3</c:v>
                </c:pt>
                <c:pt idx="1272">
                  <c:v>-5.3019848979097605E-3</c:v>
                </c:pt>
                <c:pt idx="1273">
                  <c:v>-5.3845567979696274E-3</c:v>
                </c:pt>
                <c:pt idx="1274">
                  <c:v>-5.2883039248580585E-3</c:v>
                </c:pt>
                <c:pt idx="1275">
                  <c:v>-5.3194320622091682E-3</c:v>
                </c:pt>
                <c:pt idx="1276">
                  <c:v>-5.386363630564538E-3</c:v>
                </c:pt>
                <c:pt idx="1277">
                  <c:v>-5.296134462432091E-3</c:v>
                </c:pt>
                <c:pt idx="1278">
                  <c:v>-5.2622861859712572E-3</c:v>
                </c:pt>
                <c:pt idx="1279">
                  <c:v>-4.5746653630865993E-3</c:v>
                </c:pt>
                <c:pt idx="1280">
                  <c:v>-4.4730961493040407E-3</c:v>
                </c:pt>
                <c:pt idx="1281">
                  <c:v>-4.5176102588710704E-3</c:v>
                </c:pt>
                <c:pt idx="1282">
                  <c:v>-3.6918462532739022E-3</c:v>
                </c:pt>
                <c:pt idx="1283">
                  <c:v>-3.7318640996681311E-3</c:v>
                </c:pt>
                <c:pt idx="1284">
                  <c:v>-3.7188729364678735E-3</c:v>
                </c:pt>
                <c:pt idx="1285">
                  <c:v>-3.7285092815630937E-3</c:v>
                </c:pt>
                <c:pt idx="1286">
                  <c:v>-3.6208598040361976E-3</c:v>
                </c:pt>
                <c:pt idx="1287">
                  <c:v>-3.6192025597628057E-3</c:v>
                </c:pt>
                <c:pt idx="1288">
                  <c:v>-3.4374335806207097E-3</c:v>
                </c:pt>
                <c:pt idx="1289">
                  <c:v>-3.4084184264414879E-3</c:v>
                </c:pt>
                <c:pt idx="1290">
                  <c:v>-3.9440783068860671E-3</c:v>
                </c:pt>
                <c:pt idx="1291">
                  <c:v>-3.9465657727674151E-3</c:v>
                </c:pt>
                <c:pt idx="1292">
                  <c:v>-3.7860188641980451E-3</c:v>
                </c:pt>
                <c:pt idx="1293">
                  <c:v>-4.2672303387322596E-3</c:v>
                </c:pt>
                <c:pt idx="1294">
                  <c:v>-3.2036816055749772E-3</c:v>
                </c:pt>
                <c:pt idx="1295">
                  <c:v>-2.6949738728889762E-3</c:v>
                </c:pt>
                <c:pt idx="1296">
                  <c:v>-2.752312712887622E-3</c:v>
                </c:pt>
                <c:pt idx="1297">
                  <c:v>-2.5890619151028964E-3</c:v>
                </c:pt>
                <c:pt idx="1298">
                  <c:v>-2.6057466406385066E-3</c:v>
                </c:pt>
                <c:pt idx="1299">
                  <c:v>-2.4757826819284314E-3</c:v>
                </c:pt>
                <c:pt idx="1300">
                  <c:v>-1.5978215982886974E-3</c:v>
                </c:pt>
                <c:pt idx="1301">
                  <c:v>-1.6358845632256317E-3</c:v>
                </c:pt>
                <c:pt idx="1302">
                  <c:v>-1.6901529590140265E-3</c:v>
                </c:pt>
                <c:pt idx="1303">
                  <c:v>-1.722954001468326E-3</c:v>
                </c:pt>
                <c:pt idx="1304">
                  <c:v>-1.7269372399149243E-3</c:v>
                </c:pt>
                <c:pt idx="1305">
                  <c:v>-1.6060102290805598E-3</c:v>
                </c:pt>
                <c:pt idx="1306">
                  <c:v>-1.5657090698211768E-3</c:v>
                </c:pt>
                <c:pt idx="1307">
                  <c:v>-1.1474072580861337E-3</c:v>
                </c:pt>
                <c:pt idx="1308">
                  <c:v>-4.9306152023680973E-4</c:v>
                </c:pt>
                <c:pt idx="1309">
                  <c:v>-8.0785830646292606E-4</c:v>
                </c:pt>
                <c:pt idx="1310">
                  <c:v>-5.5738740108280532E-4</c:v>
                </c:pt>
                <c:pt idx="1311">
                  <c:v>-5.3251001933714293E-4</c:v>
                </c:pt>
                <c:pt idx="1312">
                  <c:v>-9.4528235152147207E-4</c:v>
                </c:pt>
                <c:pt idx="1313">
                  <c:v>-9.4019864135101022E-4</c:v>
                </c:pt>
                <c:pt idx="1314">
                  <c:v>-9.4019352062952276E-4</c:v>
                </c:pt>
                <c:pt idx="1315">
                  <c:v>-7.9296226763719314E-4</c:v>
                </c:pt>
                <c:pt idx="1316">
                  <c:v>-8.0058221638936757E-4</c:v>
                </c:pt>
                <c:pt idx="1317">
                  <c:v>-7.808763195455929E-4</c:v>
                </c:pt>
                <c:pt idx="1318">
                  <c:v>-9.7462600520731822E-4</c:v>
                </c:pt>
                <c:pt idx="1319">
                  <c:v>-9.8387537526347171E-4</c:v>
                </c:pt>
                <c:pt idx="1320">
                  <c:v>-1.1248260565063766E-3</c:v>
                </c:pt>
                <c:pt idx="1321">
                  <c:v>-1.1773205649426091E-3</c:v>
                </c:pt>
                <c:pt idx="1322">
                  <c:v>-1.3849541471012972E-3</c:v>
                </c:pt>
                <c:pt idx="1323">
                  <c:v>-1.3995040397194701E-3</c:v>
                </c:pt>
                <c:pt idx="1324">
                  <c:v>-2.0748884592478971E-3</c:v>
                </c:pt>
                <c:pt idx="1325">
                  <c:v>-2.4204660723722779E-3</c:v>
                </c:pt>
                <c:pt idx="1326">
                  <c:v>-2.2520895840125194E-3</c:v>
                </c:pt>
                <c:pt idx="1327">
                  <c:v>-2.171639667624568E-3</c:v>
                </c:pt>
                <c:pt idx="1328">
                  <c:v>-2.2179136966189034E-3</c:v>
                </c:pt>
                <c:pt idx="1329">
                  <c:v>-2.3501234691176223E-3</c:v>
                </c:pt>
                <c:pt idx="1330">
                  <c:v>-3.2588261829082955E-3</c:v>
                </c:pt>
                <c:pt idx="1331">
                  <c:v>-3.1924789804841109E-3</c:v>
                </c:pt>
                <c:pt idx="1332">
                  <c:v>-3.081744362662911E-3</c:v>
                </c:pt>
                <c:pt idx="1333">
                  <c:v>-3.006034674404209E-3</c:v>
                </c:pt>
                <c:pt idx="1334">
                  <c:v>-3.0129837194075738E-3</c:v>
                </c:pt>
                <c:pt idx="1335">
                  <c:v>-3.0902201404682146E-3</c:v>
                </c:pt>
                <c:pt idx="1336">
                  <c:v>-3.1396317255399826E-3</c:v>
                </c:pt>
                <c:pt idx="1337">
                  <c:v>-3.8238897939925388E-3</c:v>
                </c:pt>
                <c:pt idx="1338">
                  <c:v>-5.1275560890583667E-3</c:v>
                </c:pt>
                <c:pt idx="1339">
                  <c:v>-5.1430675803762361E-3</c:v>
                </c:pt>
                <c:pt idx="1340">
                  <c:v>-6.3390652760806198E-3</c:v>
                </c:pt>
                <c:pt idx="1341">
                  <c:v>-6.2011086451245782E-3</c:v>
                </c:pt>
                <c:pt idx="1342">
                  <c:v>-6.699237742925448E-3</c:v>
                </c:pt>
                <c:pt idx="1343">
                  <c:v>-6.7012425452736869E-3</c:v>
                </c:pt>
                <c:pt idx="1344">
                  <c:v>-6.8471041358085152E-3</c:v>
                </c:pt>
                <c:pt idx="1345">
                  <c:v>-6.8372640534211243E-3</c:v>
                </c:pt>
                <c:pt idx="1346">
                  <c:v>-6.7471767257754828E-3</c:v>
                </c:pt>
                <c:pt idx="1347">
                  <c:v>-6.6604506632900323E-3</c:v>
                </c:pt>
                <c:pt idx="1348">
                  <c:v>-6.6592725222713485E-3</c:v>
                </c:pt>
                <c:pt idx="1349">
                  <c:v>-6.6894741932021651E-3</c:v>
                </c:pt>
                <c:pt idx="1350">
                  <c:v>-6.5474755389386971E-3</c:v>
                </c:pt>
                <c:pt idx="1351">
                  <c:v>-6.4939573860466979E-3</c:v>
                </c:pt>
                <c:pt idx="1352">
                  <c:v>-6.7441966346903082E-3</c:v>
                </c:pt>
                <c:pt idx="1353">
                  <c:v>-6.8031066086431972E-3</c:v>
                </c:pt>
                <c:pt idx="1354">
                  <c:v>-7.2278771854021751E-3</c:v>
                </c:pt>
                <c:pt idx="1355">
                  <c:v>-7.3261087255467264E-3</c:v>
                </c:pt>
                <c:pt idx="1356">
                  <c:v>-7.3959136574294941E-3</c:v>
                </c:pt>
                <c:pt idx="1357">
                  <c:v>-7.5801528532705009E-3</c:v>
                </c:pt>
                <c:pt idx="1358">
                  <c:v>-7.4507145791849506E-3</c:v>
                </c:pt>
                <c:pt idx="1359">
                  <c:v>-7.3174505215113806E-3</c:v>
                </c:pt>
                <c:pt idx="1360">
                  <c:v>-8.2190707849781365E-3</c:v>
                </c:pt>
                <c:pt idx="1361">
                  <c:v>-5.5026007739561907E-3</c:v>
                </c:pt>
                <c:pt idx="1362">
                  <c:v>-5.5001278050200416E-3</c:v>
                </c:pt>
                <c:pt idx="1363">
                  <c:v>-5.5224010327607782E-3</c:v>
                </c:pt>
                <c:pt idx="1364">
                  <c:v>-5.4967645768143197E-3</c:v>
                </c:pt>
                <c:pt idx="1365">
                  <c:v>-5.4729668888776808E-3</c:v>
                </c:pt>
                <c:pt idx="1366">
                  <c:v>-5.4553694785803037E-3</c:v>
                </c:pt>
                <c:pt idx="1367">
                  <c:v>-5.4409792890032149E-3</c:v>
                </c:pt>
                <c:pt idx="1368">
                  <c:v>-5.4528702232842993E-3</c:v>
                </c:pt>
                <c:pt idx="1369">
                  <c:v>-5.444771219782249E-3</c:v>
                </c:pt>
                <c:pt idx="1370">
                  <c:v>-5.4386509191749321E-3</c:v>
                </c:pt>
                <c:pt idx="1371">
                  <c:v>-5.5459802382462672E-3</c:v>
                </c:pt>
                <c:pt idx="1372">
                  <c:v>-5.5531845213551692E-3</c:v>
                </c:pt>
                <c:pt idx="1373">
                  <c:v>-5.5333701364182761E-3</c:v>
                </c:pt>
                <c:pt idx="1374">
                  <c:v>-5.6898287236183528E-3</c:v>
                </c:pt>
                <c:pt idx="1375">
                  <c:v>-5.7006073502888126E-3</c:v>
                </c:pt>
                <c:pt idx="1376">
                  <c:v>-5.8233923057890756E-3</c:v>
                </c:pt>
                <c:pt idx="1377">
                  <c:v>-5.8490574638240421E-3</c:v>
                </c:pt>
                <c:pt idx="1378">
                  <c:v>-5.8266297312169783E-3</c:v>
                </c:pt>
                <c:pt idx="1379">
                  <c:v>-5.5649980504481073E-3</c:v>
                </c:pt>
                <c:pt idx="1380">
                  <c:v>-5.5281467943442174E-3</c:v>
                </c:pt>
                <c:pt idx="1381">
                  <c:v>-5.6038268272854347E-3</c:v>
                </c:pt>
                <c:pt idx="1382">
                  <c:v>-5.611122778613818E-3</c:v>
                </c:pt>
                <c:pt idx="1383">
                  <c:v>-5.6491525520074807E-3</c:v>
                </c:pt>
                <c:pt idx="1384">
                  <c:v>-5.5426525189120586E-3</c:v>
                </c:pt>
                <c:pt idx="1385">
                  <c:v>-5.5277329724557327E-3</c:v>
                </c:pt>
                <c:pt idx="1386">
                  <c:v>-5.5317159634562605E-3</c:v>
                </c:pt>
                <c:pt idx="1387">
                  <c:v>-5.5701191762113182E-3</c:v>
                </c:pt>
                <c:pt idx="1388">
                  <c:v>-5.7088535319720357E-3</c:v>
                </c:pt>
                <c:pt idx="1389">
                  <c:v>-3.9831794576976436E-3</c:v>
                </c:pt>
                <c:pt idx="1390">
                  <c:v>-3.9206930768782792E-3</c:v>
                </c:pt>
                <c:pt idx="1391">
                  <c:v>-5.6727179713022442E-3</c:v>
                </c:pt>
                <c:pt idx="1392">
                  <c:v>-5.6110556202230346E-3</c:v>
                </c:pt>
                <c:pt idx="1393">
                  <c:v>-5.6743044476601648E-3</c:v>
                </c:pt>
                <c:pt idx="1394">
                  <c:v>-5.7522351100475887E-3</c:v>
                </c:pt>
                <c:pt idx="1395">
                  <c:v>-5.6042717140904266E-3</c:v>
                </c:pt>
                <c:pt idx="1396">
                  <c:v>-5.4929692023655526E-3</c:v>
                </c:pt>
                <c:pt idx="1397">
                  <c:v>-5.4277838493152356E-3</c:v>
                </c:pt>
                <c:pt idx="1398">
                  <c:v>-5.4324939547554145E-3</c:v>
                </c:pt>
                <c:pt idx="1399">
                  <c:v>-5.425793433973064E-3</c:v>
                </c:pt>
                <c:pt idx="1400">
                  <c:v>-5.4253168034183886E-3</c:v>
                </c:pt>
                <c:pt idx="1401">
                  <c:v>-5.4328029499011374E-3</c:v>
                </c:pt>
                <c:pt idx="1402">
                  <c:v>-5.5047037043295059E-3</c:v>
                </c:pt>
                <c:pt idx="1403">
                  <c:v>-5.5715794072715872E-3</c:v>
                </c:pt>
                <c:pt idx="1404">
                  <c:v>-5.6670813324354932E-3</c:v>
                </c:pt>
                <c:pt idx="1405">
                  <c:v>-5.7150805721268294E-3</c:v>
                </c:pt>
                <c:pt idx="1406">
                  <c:v>-5.5938353874748934E-3</c:v>
                </c:pt>
                <c:pt idx="1407">
                  <c:v>-5.6401328109287234E-3</c:v>
                </c:pt>
                <c:pt idx="1408">
                  <c:v>-5.6434988078663132E-3</c:v>
                </c:pt>
                <c:pt idx="1409">
                  <c:v>-5.8243262592238918E-3</c:v>
                </c:pt>
                <c:pt idx="1410">
                  <c:v>-5.9171865887731314E-3</c:v>
                </c:pt>
                <c:pt idx="1411">
                  <c:v>-5.9518524529078923E-3</c:v>
                </c:pt>
                <c:pt idx="1412">
                  <c:v>-5.9724214471505617E-3</c:v>
                </c:pt>
                <c:pt idx="1413">
                  <c:v>-6.01118076819888E-3</c:v>
                </c:pt>
                <c:pt idx="1414">
                  <c:v>-6.1476441135154599E-3</c:v>
                </c:pt>
                <c:pt idx="1415">
                  <c:v>-6.1174118866693002E-3</c:v>
                </c:pt>
                <c:pt idx="1416">
                  <c:v>-6.0651966472834128E-3</c:v>
                </c:pt>
                <c:pt idx="1417">
                  <c:v>-6.0176340532629383E-3</c:v>
                </c:pt>
                <c:pt idx="1418">
                  <c:v>-5.8760895776109757E-3</c:v>
                </c:pt>
                <c:pt idx="1419">
                  <c:v>-8.6400081065467031E-3</c:v>
                </c:pt>
                <c:pt idx="1420">
                  <c:v>-8.8125404014458564E-3</c:v>
                </c:pt>
                <c:pt idx="1421">
                  <c:v>-9.010200711735682E-3</c:v>
                </c:pt>
                <c:pt idx="1422">
                  <c:v>-9.1112682117621031E-3</c:v>
                </c:pt>
                <c:pt idx="1423">
                  <c:v>-9.0529347419027479E-3</c:v>
                </c:pt>
                <c:pt idx="1424">
                  <c:v>-5.0468366144136249E-3</c:v>
                </c:pt>
                <c:pt idx="1425">
                  <c:v>-5.0427886746564447E-3</c:v>
                </c:pt>
                <c:pt idx="1426">
                  <c:v>-5.068595772260721E-3</c:v>
                </c:pt>
                <c:pt idx="1427">
                  <c:v>-5.081641862630373E-3</c:v>
                </c:pt>
                <c:pt idx="1428">
                  <c:v>-5.000133801657286E-3</c:v>
                </c:pt>
                <c:pt idx="1429">
                  <c:v>-4.490311211007042E-3</c:v>
                </c:pt>
                <c:pt idx="1430">
                  <c:v>-4.3965366517714453E-3</c:v>
                </c:pt>
                <c:pt idx="1431">
                  <c:v>-4.3002831944158344E-3</c:v>
                </c:pt>
                <c:pt idx="1432">
                  <c:v>-4.2132837860436485E-3</c:v>
                </c:pt>
                <c:pt idx="1433">
                  <c:v>-4.1531118476783035E-3</c:v>
                </c:pt>
                <c:pt idx="1434">
                  <c:v>-3.978321512629843E-3</c:v>
                </c:pt>
                <c:pt idx="1435">
                  <c:v>-3.9539399883305685E-3</c:v>
                </c:pt>
                <c:pt idx="1436">
                  <c:v>-3.8492057591198777E-3</c:v>
                </c:pt>
                <c:pt idx="1437">
                  <c:v>-3.7934340522681898E-3</c:v>
                </c:pt>
                <c:pt idx="1438">
                  <c:v>-3.7603231255138366E-3</c:v>
                </c:pt>
                <c:pt idx="1439">
                  <c:v>-3.6063680471464209E-3</c:v>
                </c:pt>
                <c:pt idx="1440">
                  <c:v>-2.8731048365276263E-3</c:v>
                </c:pt>
                <c:pt idx="1441">
                  <c:v>-2.7662298476079927E-3</c:v>
                </c:pt>
                <c:pt idx="1442">
                  <c:v>-2.7367557188193257E-3</c:v>
                </c:pt>
                <c:pt idx="1443">
                  <c:v>-2.6384729118019163E-3</c:v>
                </c:pt>
                <c:pt idx="1444">
                  <c:v>-2.5496349567734541E-3</c:v>
                </c:pt>
                <c:pt idx="1445">
                  <c:v>-1.3624968707327319E-3</c:v>
                </c:pt>
                <c:pt idx="1446">
                  <c:v>-1.2709399440542293E-3</c:v>
                </c:pt>
                <c:pt idx="1447">
                  <c:v>-1.0955152493667547E-3</c:v>
                </c:pt>
                <c:pt idx="1448">
                  <c:v>-8.3986336784338568E-4</c:v>
                </c:pt>
                <c:pt idx="1449">
                  <c:v>-5.6313641366534384E-4</c:v>
                </c:pt>
                <c:pt idx="1450">
                  <c:v>-2.5612505541140577E-4</c:v>
                </c:pt>
                <c:pt idx="1451">
                  <c:v>7.1060333313763269E-5</c:v>
                </c:pt>
                <c:pt idx="1452">
                  <c:v>3.8451600304753759E-4</c:v>
                </c:pt>
                <c:pt idx="1453">
                  <c:v>6.0280627906370877E-4</c:v>
                </c:pt>
                <c:pt idx="1454">
                  <c:v>-1.0663805599991708E-3</c:v>
                </c:pt>
                <c:pt idx="1455">
                  <c:v>-9.2813999983591342E-4</c:v>
                </c:pt>
                <c:pt idx="1456">
                  <c:v>-7.8997311183024582E-4</c:v>
                </c:pt>
                <c:pt idx="1457">
                  <c:v>-6.3128655698145922E-4</c:v>
                </c:pt>
                <c:pt idx="1458">
                  <c:v>-5.345240797062778E-4</c:v>
                </c:pt>
                <c:pt idx="1459">
                  <c:v>-1.037566432965065E-3</c:v>
                </c:pt>
                <c:pt idx="1460">
                  <c:v>-9.8257421599132894E-4</c:v>
                </c:pt>
                <c:pt idx="1461">
                  <c:v>-9.3458773656523476E-4</c:v>
                </c:pt>
                <c:pt idx="1462">
                  <c:v>-2.198794161083345E-4</c:v>
                </c:pt>
                <c:pt idx="1463">
                  <c:v>3.0472690946527388E-4</c:v>
                </c:pt>
                <c:pt idx="1464">
                  <c:v>2.343800502849127E-4</c:v>
                </c:pt>
                <c:pt idx="1465">
                  <c:v>1.6944805810739476E-4</c:v>
                </c:pt>
                <c:pt idx="1466">
                  <c:v>1.0788605041914083E-4</c:v>
                </c:pt>
                <c:pt idx="1467">
                  <c:v>-1.4938369610230373E-6</c:v>
                </c:pt>
                <c:pt idx="1468">
                  <c:v>-1.177396005828113E-4</c:v>
                </c:pt>
                <c:pt idx="1469">
                  <c:v>-2.0668820416766889E-4</c:v>
                </c:pt>
                <c:pt idx="1470">
                  <c:v>-9.7643342713275329E-4</c:v>
                </c:pt>
                <c:pt idx="1471">
                  <c:v>-4.6587089136630039E-4</c:v>
                </c:pt>
                <c:pt idx="1472">
                  <c:v>-5.8292670282687059E-4</c:v>
                </c:pt>
                <c:pt idx="1473">
                  <c:v>-7.1082740017108619E-4</c:v>
                </c:pt>
                <c:pt idx="1474">
                  <c:v>-8.1898177420798059E-4</c:v>
                </c:pt>
                <c:pt idx="1475">
                  <c:v>-2.214845463090382E-3</c:v>
                </c:pt>
                <c:pt idx="1476">
                  <c:v>-2.4338463796691537E-3</c:v>
                </c:pt>
                <c:pt idx="1477">
                  <c:v>-2.6816443713825067E-3</c:v>
                </c:pt>
                <c:pt idx="1478">
                  <c:v>-1.3577955106242098E-3</c:v>
                </c:pt>
                <c:pt idx="1479">
                  <c:v>-1.4792292441460405E-3</c:v>
                </c:pt>
                <c:pt idx="1480">
                  <c:v>-1.5383957333096124E-3</c:v>
                </c:pt>
                <c:pt idx="1481">
                  <c:v>-1.5367439102748522E-3</c:v>
                </c:pt>
                <c:pt idx="1482">
                  <c:v>-1.5393399560751503E-3</c:v>
                </c:pt>
                <c:pt idx="1483">
                  <c:v>-1.2558098280427577E-3</c:v>
                </c:pt>
                <c:pt idx="1484">
                  <c:v>-1.6547419360063414E-3</c:v>
                </c:pt>
                <c:pt idx="1485">
                  <c:v>-1.6597239360388212E-3</c:v>
                </c:pt>
                <c:pt idx="1486">
                  <c:v>-1.5702232067517745E-3</c:v>
                </c:pt>
                <c:pt idx="1487">
                  <c:v>-1.2339102368580969E-3</c:v>
                </c:pt>
                <c:pt idx="1488">
                  <c:v>-1.1184036682232792E-3</c:v>
                </c:pt>
                <c:pt idx="1489">
                  <c:v>-1.097528845287063E-3</c:v>
                </c:pt>
                <c:pt idx="1490">
                  <c:v>-1.0006140405350358E-3</c:v>
                </c:pt>
                <c:pt idx="1491">
                  <c:v>-6.8445635976326427E-4</c:v>
                </c:pt>
                <c:pt idx="1492">
                  <c:v>-9.977743138088347E-4</c:v>
                </c:pt>
                <c:pt idx="1493">
                  <c:v>-1.2904738633232223E-3</c:v>
                </c:pt>
                <c:pt idx="1494">
                  <c:v>-1.2508103792740043E-3</c:v>
                </c:pt>
                <c:pt idx="1495">
                  <c:v>-1.1734294987937079E-3</c:v>
                </c:pt>
                <c:pt idx="1496">
                  <c:v>-2.9349359966394928E-5</c:v>
                </c:pt>
                <c:pt idx="1497">
                  <c:v>-4.9486714655960773E-6</c:v>
                </c:pt>
                <c:pt idx="1498">
                  <c:v>3.4132861616050295E-5</c:v>
                </c:pt>
                <c:pt idx="1499">
                  <c:v>3.5051443640219705E-4</c:v>
                </c:pt>
                <c:pt idx="1500">
                  <c:v>2.8771572037026415E-3</c:v>
                </c:pt>
                <c:pt idx="1501">
                  <c:v>2.6007115767539488E-3</c:v>
                </c:pt>
                <c:pt idx="1502">
                  <c:v>2.5184709511087283E-3</c:v>
                </c:pt>
                <c:pt idx="1503">
                  <c:v>2.555962427065012E-3</c:v>
                </c:pt>
                <c:pt idx="1504">
                  <c:v>2.5412361609190651E-3</c:v>
                </c:pt>
                <c:pt idx="1505">
                  <c:v>2.575503215297462E-3</c:v>
                </c:pt>
                <c:pt idx="1506">
                  <c:v>3.6791386189044071E-3</c:v>
                </c:pt>
                <c:pt idx="1507">
                  <c:v>3.593943214118411E-3</c:v>
                </c:pt>
                <c:pt idx="1508">
                  <c:v>2.8720912555170296E-3</c:v>
                </c:pt>
                <c:pt idx="1509">
                  <c:v>2.8083428436656687E-3</c:v>
                </c:pt>
                <c:pt idx="1510">
                  <c:v>2.721170284270923E-3</c:v>
                </c:pt>
                <c:pt idx="1511">
                  <c:v>3.2034379634413978E-3</c:v>
                </c:pt>
                <c:pt idx="1512">
                  <c:v>3.2447638352998149E-3</c:v>
                </c:pt>
                <c:pt idx="1513">
                  <c:v>3.1528929143566139E-3</c:v>
                </c:pt>
                <c:pt idx="1514">
                  <c:v>3.077097081222448E-3</c:v>
                </c:pt>
                <c:pt idx="1515">
                  <c:v>3.0462965886329536E-3</c:v>
                </c:pt>
                <c:pt idx="1516">
                  <c:v>3.085467282563167E-3</c:v>
                </c:pt>
                <c:pt idx="1517">
                  <c:v>3.0422953406041685E-3</c:v>
                </c:pt>
                <c:pt idx="1518">
                  <c:v>3.0468947731171359E-3</c:v>
                </c:pt>
                <c:pt idx="1519">
                  <c:v>3.064818500003846E-3</c:v>
                </c:pt>
                <c:pt idx="1520">
                  <c:v>3.0848526592705174E-3</c:v>
                </c:pt>
                <c:pt idx="1521">
                  <c:v>2.97457566884393E-3</c:v>
                </c:pt>
                <c:pt idx="1522">
                  <c:v>2.9683869195364625E-3</c:v>
                </c:pt>
                <c:pt idx="1523">
                  <c:v>2.9819377174182555E-3</c:v>
                </c:pt>
                <c:pt idx="1524">
                  <c:v>3.0217560289017512E-3</c:v>
                </c:pt>
                <c:pt idx="1525">
                  <c:v>2.965162161776726E-3</c:v>
                </c:pt>
                <c:pt idx="1526">
                  <c:v>2.3029166778681717E-3</c:v>
                </c:pt>
                <c:pt idx="1527">
                  <c:v>5.6058135962869567E-3</c:v>
                </c:pt>
                <c:pt idx="1528">
                  <c:v>5.5793458236518909E-3</c:v>
                </c:pt>
                <c:pt idx="1529">
                  <c:v>5.4239563784671697E-3</c:v>
                </c:pt>
                <c:pt idx="1530">
                  <c:v>3.4705780588265098E-3</c:v>
                </c:pt>
                <c:pt idx="1531">
                  <c:v>3.4218596493048713E-3</c:v>
                </c:pt>
                <c:pt idx="1532">
                  <c:v>3.4904214072694426E-3</c:v>
                </c:pt>
                <c:pt idx="1533">
                  <c:v>3.5116722386304405E-3</c:v>
                </c:pt>
                <c:pt idx="1534">
                  <c:v>3.8630955254747492E-3</c:v>
                </c:pt>
                <c:pt idx="1535">
                  <c:v>3.7554118796111254E-3</c:v>
                </c:pt>
                <c:pt idx="1536">
                  <c:v>2.4678785508973899E-3</c:v>
                </c:pt>
                <c:pt idx="1537">
                  <c:v>2.364891690614674E-3</c:v>
                </c:pt>
                <c:pt idx="1538">
                  <c:v>2.2913909450890425E-3</c:v>
                </c:pt>
                <c:pt idx="1539">
                  <c:v>2.2432460847356863E-3</c:v>
                </c:pt>
                <c:pt idx="1540">
                  <c:v>2.1465383597049428E-3</c:v>
                </c:pt>
                <c:pt idx="1541">
                  <c:v>1.3826672615886871E-3</c:v>
                </c:pt>
                <c:pt idx="1542">
                  <c:v>1.2432572422821104E-3</c:v>
                </c:pt>
                <c:pt idx="1543">
                  <c:v>1.1129346213570833E-3</c:v>
                </c:pt>
                <c:pt idx="1544">
                  <c:v>1.2209215115338689E-3</c:v>
                </c:pt>
                <c:pt idx="1545">
                  <c:v>1.1650116739337479E-3</c:v>
                </c:pt>
                <c:pt idx="1546">
                  <c:v>1.0615273069075094E-3</c:v>
                </c:pt>
                <c:pt idx="1547">
                  <c:v>9.8127754865577795E-4</c:v>
                </c:pt>
                <c:pt idx="1548">
                  <c:v>8.7652446779871128E-4</c:v>
                </c:pt>
                <c:pt idx="1549">
                  <c:v>7.9225906537877706E-4</c:v>
                </c:pt>
                <c:pt idx="1550">
                  <c:v>9.23996505617539E-4</c:v>
                </c:pt>
                <c:pt idx="1551">
                  <c:v>9.6511687712269416E-4</c:v>
                </c:pt>
                <c:pt idx="1552">
                  <c:v>1.039450406093205E-3</c:v>
                </c:pt>
                <c:pt idx="1553">
                  <c:v>1.0552912774016501E-3</c:v>
                </c:pt>
                <c:pt idx="1554">
                  <c:v>1.2339428645494772E-3</c:v>
                </c:pt>
                <c:pt idx="1555">
                  <c:v>1.3208867975227842E-3</c:v>
                </c:pt>
                <c:pt idx="1556">
                  <c:v>1.3130143117369084E-3</c:v>
                </c:pt>
                <c:pt idx="1557">
                  <c:v>-3.9571719751195864E-3</c:v>
                </c:pt>
                <c:pt idx="1558">
                  <c:v>-3.9434277974369492E-3</c:v>
                </c:pt>
                <c:pt idx="1559">
                  <c:v>-3.8506502970068329E-3</c:v>
                </c:pt>
                <c:pt idx="1560">
                  <c:v>-3.8278846945907236E-3</c:v>
                </c:pt>
                <c:pt idx="1561">
                  <c:v>-3.7885576093286445E-3</c:v>
                </c:pt>
                <c:pt idx="1562">
                  <c:v>-3.8315049860902454E-3</c:v>
                </c:pt>
                <c:pt idx="1563">
                  <c:v>-3.907425885996416E-3</c:v>
                </c:pt>
                <c:pt idx="1564">
                  <c:v>-4.7951488583901219E-3</c:v>
                </c:pt>
                <c:pt idx="1565">
                  <c:v>-4.6970328529386748E-3</c:v>
                </c:pt>
                <c:pt idx="1566">
                  <c:v>-4.9508398865742102E-3</c:v>
                </c:pt>
                <c:pt idx="1567">
                  <c:v>-3.5935118908488588E-3</c:v>
                </c:pt>
                <c:pt idx="1568">
                  <c:v>-3.5060444153428155E-3</c:v>
                </c:pt>
                <c:pt idx="1569">
                  <c:v>-3.5422482251877187E-3</c:v>
                </c:pt>
                <c:pt idx="1570">
                  <c:v>-3.5428282491588737E-3</c:v>
                </c:pt>
                <c:pt idx="1571">
                  <c:v>-3.5003287808315076E-3</c:v>
                </c:pt>
                <c:pt idx="1572">
                  <c:v>-3.4584033143325432E-3</c:v>
                </c:pt>
                <c:pt idx="1573">
                  <c:v>-3.4918948060904433E-3</c:v>
                </c:pt>
                <c:pt idx="1574">
                  <c:v>-4.155694601997514E-3</c:v>
                </c:pt>
                <c:pt idx="1575">
                  <c:v>-4.4435836083870778E-3</c:v>
                </c:pt>
                <c:pt idx="1576">
                  <c:v>-3.3977570157736371E-3</c:v>
                </c:pt>
                <c:pt idx="1577">
                  <c:v>-9.2962934891909453E-4</c:v>
                </c:pt>
                <c:pt idx="1578">
                  <c:v>6.1839013739798526E-4</c:v>
                </c:pt>
                <c:pt idx="1579">
                  <c:v>2.2111479769281739E-3</c:v>
                </c:pt>
                <c:pt idx="1580">
                  <c:v>3.3507082443770802E-3</c:v>
                </c:pt>
                <c:pt idx="1581">
                  <c:v>5.4313821089834614E-3</c:v>
                </c:pt>
                <c:pt idx="1582">
                  <c:v>7.6837543852675393E-3</c:v>
                </c:pt>
                <c:pt idx="1583">
                  <c:v>9.4102718823266974E-3</c:v>
                </c:pt>
                <c:pt idx="1584">
                  <c:v>1.1615368589497363E-2</c:v>
                </c:pt>
                <c:pt idx="1585">
                  <c:v>1.3625768964541487E-2</c:v>
                </c:pt>
                <c:pt idx="1586">
                  <c:v>1.5952221976885526E-2</c:v>
                </c:pt>
                <c:pt idx="1587">
                  <c:v>1.8143467852679555E-2</c:v>
                </c:pt>
                <c:pt idx="1588">
                  <c:v>2.0005169776084658E-2</c:v>
                </c:pt>
                <c:pt idx="1589">
                  <c:v>2.1566373110876981E-2</c:v>
                </c:pt>
                <c:pt idx="1590">
                  <c:v>2.3416751095862068E-2</c:v>
                </c:pt>
                <c:pt idx="1591">
                  <c:v>2.5309105879772698E-2</c:v>
                </c:pt>
                <c:pt idx="1592">
                  <c:v>2.6999719811876662E-2</c:v>
                </c:pt>
                <c:pt idx="1593">
                  <c:v>3.0211780461569776E-2</c:v>
                </c:pt>
                <c:pt idx="1594">
                  <c:v>3.1396105606601138E-2</c:v>
                </c:pt>
                <c:pt idx="1595">
                  <c:v>3.241038488353299E-2</c:v>
                </c:pt>
                <c:pt idx="1596">
                  <c:v>3.3884609300449293E-2</c:v>
                </c:pt>
                <c:pt idx="1597">
                  <c:v>3.3612404141575208E-2</c:v>
                </c:pt>
                <c:pt idx="1598">
                  <c:v>3.3809518375058828E-2</c:v>
                </c:pt>
                <c:pt idx="1599">
                  <c:v>3.3872152237189139E-2</c:v>
                </c:pt>
                <c:pt idx="1600">
                  <c:v>3.35946641225955E-2</c:v>
                </c:pt>
                <c:pt idx="1601">
                  <c:v>3.304130908261188E-2</c:v>
                </c:pt>
                <c:pt idx="1602">
                  <c:v>3.2700889419315607E-2</c:v>
                </c:pt>
                <c:pt idx="1603">
                  <c:v>3.1987786782768465E-2</c:v>
                </c:pt>
                <c:pt idx="1604">
                  <c:v>3.1076003151907686E-2</c:v>
                </c:pt>
                <c:pt idx="1605">
                  <c:v>2.9723557637819115E-2</c:v>
                </c:pt>
                <c:pt idx="1606">
                  <c:v>2.8606233361608661E-2</c:v>
                </c:pt>
                <c:pt idx="1607">
                  <c:v>2.8045748457008378E-2</c:v>
                </c:pt>
                <c:pt idx="1608">
                  <c:v>2.7169874421807731E-2</c:v>
                </c:pt>
                <c:pt idx="1609">
                  <c:v>2.5588414396749366E-2</c:v>
                </c:pt>
                <c:pt idx="1610">
                  <c:v>2.4080288791238816E-2</c:v>
                </c:pt>
                <c:pt idx="1611">
                  <c:v>2.3008280494514283E-2</c:v>
                </c:pt>
                <c:pt idx="1612">
                  <c:v>2.3793642773679909E-2</c:v>
                </c:pt>
                <c:pt idx="1613">
                  <c:v>2.4243137374053474E-2</c:v>
                </c:pt>
                <c:pt idx="1614">
                  <c:v>2.4762982957178666E-2</c:v>
                </c:pt>
                <c:pt idx="1615">
                  <c:v>2.5052128659389605E-2</c:v>
                </c:pt>
                <c:pt idx="1616">
                  <c:v>2.6811182240663485E-2</c:v>
                </c:pt>
                <c:pt idx="1617">
                  <c:v>2.9318195064431223E-2</c:v>
                </c:pt>
                <c:pt idx="1618">
                  <c:v>3.1317978709352122E-2</c:v>
                </c:pt>
                <c:pt idx="1619">
                  <c:v>3.4222964556260581E-2</c:v>
                </c:pt>
                <c:pt idx="1620">
                  <c:v>3.6057674232292655E-2</c:v>
                </c:pt>
                <c:pt idx="1621">
                  <c:v>4.0189571802054735E-2</c:v>
                </c:pt>
                <c:pt idx="1622">
                  <c:v>4.476390001380301E-2</c:v>
                </c:pt>
                <c:pt idx="1623">
                  <c:v>4.7254945364252371E-2</c:v>
                </c:pt>
                <c:pt idx="1624">
                  <c:v>5.2849502514523361E-2</c:v>
                </c:pt>
                <c:pt idx="1625">
                  <c:v>5.7727426670516113E-2</c:v>
                </c:pt>
                <c:pt idx="1626">
                  <c:v>6.0149665209290284E-2</c:v>
                </c:pt>
                <c:pt idx="1627">
                  <c:v>6.3660719755048334E-2</c:v>
                </c:pt>
                <c:pt idx="1628">
                  <c:v>8.9424643401276926E-2</c:v>
                </c:pt>
                <c:pt idx="1629">
                  <c:v>0.10166014989956414</c:v>
                </c:pt>
                <c:pt idx="1630">
                  <c:v>0.10986552974655743</c:v>
                </c:pt>
                <c:pt idx="1631">
                  <c:v>0.11620450995680227</c:v>
                </c:pt>
                <c:pt idx="1632">
                  <c:v>0.12236724618772345</c:v>
                </c:pt>
                <c:pt idx="1633">
                  <c:v>0.12698377113699394</c:v>
                </c:pt>
                <c:pt idx="1634">
                  <c:v>0.13486997742550635</c:v>
                </c:pt>
                <c:pt idx="1635">
                  <c:v>0.14098768870377634</c:v>
                </c:pt>
                <c:pt idx="1636">
                  <c:v>0.14555435518202417</c:v>
                </c:pt>
                <c:pt idx="1637">
                  <c:v>0.14911888878307836</c:v>
                </c:pt>
                <c:pt idx="1638">
                  <c:v>0.15094358884093659</c:v>
                </c:pt>
                <c:pt idx="1639">
                  <c:v>0.15210459792280306</c:v>
                </c:pt>
                <c:pt idx="1640">
                  <c:v>0.15146285805305537</c:v>
                </c:pt>
                <c:pt idx="1641">
                  <c:v>0.14956697944489103</c:v>
                </c:pt>
                <c:pt idx="1642">
                  <c:v>0.14858816943553191</c:v>
                </c:pt>
                <c:pt idx="1643">
                  <c:v>0.14604103577991226</c:v>
                </c:pt>
                <c:pt idx="1644">
                  <c:v>0.14234546695752884</c:v>
                </c:pt>
                <c:pt idx="1645">
                  <c:v>0.13732468175692694</c:v>
                </c:pt>
                <c:pt idx="1646">
                  <c:v>0.13255586300434352</c:v>
                </c:pt>
                <c:pt idx="1647">
                  <c:v>0.12677115156478977</c:v>
                </c:pt>
                <c:pt idx="1648">
                  <c:v>0.11688159047297438</c:v>
                </c:pt>
                <c:pt idx="1649">
                  <c:v>0.10450771554386029</c:v>
                </c:pt>
                <c:pt idx="1650">
                  <c:v>9.2031485234257249E-2</c:v>
                </c:pt>
                <c:pt idx="1651">
                  <c:v>8.2607185576986097E-2</c:v>
                </c:pt>
                <c:pt idx="1652">
                  <c:v>7.554951390863196E-2</c:v>
                </c:pt>
                <c:pt idx="1653">
                  <c:v>6.8289315732515662E-2</c:v>
                </c:pt>
                <c:pt idx="1654">
                  <c:v>6.0705292930689367E-2</c:v>
                </c:pt>
                <c:pt idx="1655">
                  <c:v>4.9327918650188346E-2</c:v>
                </c:pt>
                <c:pt idx="1656">
                  <c:v>3.8532969818463061E-2</c:v>
                </c:pt>
                <c:pt idx="1657">
                  <c:v>2.5390720503659051E-2</c:v>
                </c:pt>
                <c:pt idx="1658">
                  <c:v>2.3088424714398849E-2</c:v>
                </c:pt>
                <c:pt idx="1659">
                  <c:v>2.0963373178011932E-2</c:v>
                </c:pt>
                <c:pt idx="1660">
                  <c:v>1.8162998533886775E-2</c:v>
                </c:pt>
                <c:pt idx="1661">
                  <c:v>1.4781598571605747E-2</c:v>
                </c:pt>
                <c:pt idx="1662">
                  <c:v>1.1769908273600126E-2</c:v>
                </c:pt>
                <c:pt idx="1663">
                  <c:v>7.7154711574704635E-3</c:v>
                </c:pt>
                <c:pt idx="1664">
                  <c:v>7.8589997457280177E-3</c:v>
                </c:pt>
                <c:pt idx="1665">
                  <c:v>7.5594280813086664E-3</c:v>
                </c:pt>
                <c:pt idx="1666">
                  <c:v>8.4379342452422946E-3</c:v>
                </c:pt>
                <c:pt idx="1667">
                  <c:v>8.3088890719835041E-3</c:v>
                </c:pt>
                <c:pt idx="1668">
                  <c:v>8.660533046275681E-3</c:v>
                </c:pt>
                <c:pt idx="1669">
                  <c:v>9.308837740766648E-3</c:v>
                </c:pt>
                <c:pt idx="1670">
                  <c:v>9.1995162104987049E-3</c:v>
                </c:pt>
                <c:pt idx="1671">
                  <c:v>9.0819928068533121E-3</c:v>
                </c:pt>
                <c:pt idx="1672">
                  <c:v>9.4062377510337278E-3</c:v>
                </c:pt>
                <c:pt idx="1673">
                  <c:v>9.8352822127486892E-3</c:v>
                </c:pt>
                <c:pt idx="1674">
                  <c:v>9.8906587048006884E-3</c:v>
                </c:pt>
                <c:pt idx="1675">
                  <c:v>1.108095880866043E-2</c:v>
                </c:pt>
                <c:pt idx="1676">
                  <c:v>1.2465514752186208E-2</c:v>
                </c:pt>
                <c:pt idx="1677">
                  <c:v>1.4890954581846879E-2</c:v>
                </c:pt>
                <c:pt idx="1678">
                  <c:v>1.4128838892893328E-2</c:v>
                </c:pt>
                <c:pt idx="1679">
                  <c:v>1.2000475868524747E-2</c:v>
                </c:pt>
                <c:pt idx="1680">
                  <c:v>9.0131873337837513E-3</c:v>
                </c:pt>
                <c:pt idx="1681">
                  <c:v>2.3014003719140346E-3</c:v>
                </c:pt>
                <c:pt idx="1682">
                  <c:v>2.5418740234597979E-3</c:v>
                </c:pt>
                <c:pt idx="1683">
                  <c:v>3.1962401632678935E-3</c:v>
                </c:pt>
                <c:pt idx="1684">
                  <c:v>3.4346922361795738E-3</c:v>
                </c:pt>
                <c:pt idx="1685">
                  <c:v>3.6837733041314592E-3</c:v>
                </c:pt>
                <c:pt idx="1686">
                  <c:v>3.9366534994294423E-3</c:v>
                </c:pt>
                <c:pt idx="1687">
                  <c:v>4.5501769882441718E-3</c:v>
                </c:pt>
                <c:pt idx="1688">
                  <c:v>5.700600869229704E-3</c:v>
                </c:pt>
                <c:pt idx="1689">
                  <c:v>8.8672258212544684E-3</c:v>
                </c:pt>
                <c:pt idx="1690">
                  <c:v>1.3619024639623127E-2</c:v>
                </c:pt>
                <c:pt idx="1691">
                  <c:v>2.26341436151105E-2</c:v>
                </c:pt>
                <c:pt idx="1692">
                  <c:v>4.9091889633561016E-2</c:v>
                </c:pt>
                <c:pt idx="1693">
                  <c:v>8.0934466625291759E-2</c:v>
                </c:pt>
                <c:pt idx="1694">
                  <c:v>0.10295235547022774</c:v>
                </c:pt>
                <c:pt idx="1695">
                  <c:v>0.11467440286951765</c:v>
                </c:pt>
                <c:pt idx="1696">
                  <c:v>0.12407206147736748</c:v>
                </c:pt>
                <c:pt idx="1697">
                  <c:v>0.1309053745852933</c:v>
                </c:pt>
                <c:pt idx="1698">
                  <c:v>0.13622951288981139</c:v>
                </c:pt>
                <c:pt idx="1699">
                  <c:v>0.13838755238735448</c:v>
                </c:pt>
                <c:pt idx="1700">
                  <c:v>0.13937047309841002</c:v>
                </c:pt>
                <c:pt idx="1701">
                  <c:v>0.13859434000671952</c:v>
                </c:pt>
                <c:pt idx="1702">
                  <c:v>0.13754249900917345</c:v>
                </c:pt>
                <c:pt idx="1703">
                  <c:v>0.13641760237681383</c:v>
                </c:pt>
                <c:pt idx="1704">
                  <c:v>0.13508799842807487</c:v>
                </c:pt>
                <c:pt idx="1705">
                  <c:v>0.13335600872894404</c:v>
                </c:pt>
                <c:pt idx="1706">
                  <c:v>0.13135193329502584</c:v>
                </c:pt>
                <c:pt idx="1707">
                  <c:v>0.1294711199346909</c:v>
                </c:pt>
                <c:pt idx="1708">
                  <c:v>0.1269981968962148</c:v>
                </c:pt>
                <c:pt idx="1709">
                  <c:v>0.12445463866549426</c:v>
                </c:pt>
                <c:pt idx="1710">
                  <c:v>0.121751090551924</c:v>
                </c:pt>
                <c:pt idx="1711">
                  <c:v>0.11815815415275736</c:v>
                </c:pt>
                <c:pt idx="1712">
                  <c:v>0.11463300992052859</c:v>
                </c:pt>
                <c:pt idx="1713">
                  <c:v>0.11070739800595707</c:v>
                </c:pt>
                <c:pt idx="1714">
                  <c:v>0.10635238931463863</c:v>
                </c:pt>
                <c:pt idx="1715">
                  <c:v>0.1016132333120869</c:v>
                </c:pt>
                <c:pt idx="1716">
                  <c:v>9.6797328705261296E-2</c:v>
                </c:pt>
                <c:pt idx="1717">
                  <c:v>9.06586749790501E-2</c:v>
                </c:pt>
                <c:pt idx="1718">
                  <c:v>8.479248120739348E-2</c:v>
                </c:pt>
                <c:pt idx="1719">
                  <c:v>7.935916913731457E-2</c:v>
                </c:pt>
                <c:pt idx="1720">
                  <c:v>7.4718260999556571E-2</c:v>
                </c:pt>
                <c:pt idx="1721">
                  <c:v>7.2634047574598584E-2</c:v>
                </c:pt>
                <c:pt idx="1722">
                  <c:v>7.094879373990827E-2</c:v>
                </c:pt>
                <c:pt idx="1723">
                  <c:v>6.1647733830860238E-2</c:v>
                </c:pt>
                <c:pt idx="1724">
                  <c:v>4.9660733631845075E-2</c:v>
                </c:pt>
                <c:pt idx="1725">
                  <c:v>3.3427472548830987E-2</c:v>
                </c:pt>
                <c:pt idx="1726">
                  <c:v>2.2527556415043032E-2</c:v>
                </c:pt>
                <c:pt idx="1727">
                  <c:v>1.2639463529263784E-2</c:v>
                </c:pt>
                <c:pt idx="1728">
                  <c:v>-9.1842098569607129E-4</c:v>
                </c:pt>
                <c:pt idx="1729">
                  <c:v>-1.1759639902843037E-2</c:v>
                </c:pt>
                <c:pt idx="1730">
                  <c:v>-2.0832164658412193E-2</c:v>
                </c:pt>
                <c:pt idx="1731">
                  <c:v>-2.112536331079215E-2</c:v>
                </c:pt>
                <c:pt idx="1732">
                  <c:v>-2.1730251290943733E-2</c:v>
                </c:pt>
                <c:pt idx="1733">
                  <c:v>-2.169690337301048E-2</c:v>
                </c:pt>
                <c:pt idx="1734">
                  <c:v>-2.1754165445673178E-2</c:v>
                </c:pt>
                <c:pt idx="1735">
                  <c:v>-2.180487774132607E-2</c:v>
                </c:pt>
                <c:pt idx="1736">
                  <c:v>-2.1699848842682112E-2</c:v>
                </c:pt>
                <c:pt idx="1737">
                  <c:v>-2.1431199421269885E-2</c:v>
                </c:pt>
                <c:pt idx="1738">
                  <c:v>-2.1599422558090504E-2</c:v>
                </c:pt>
                <c:pt idx="1739">
                  <c:v>-2.1222614930540645E-2</c:v>
                </c:pt>
                <c:pt idx="1740">
                  <c:v>-2.0921098320235497E-2</c:v>
                </c:pt>
                <c:pt idx="1741">
                  <c:v>-2.0881007118126658E-2</c:v>
                </c:pt>
                <c:pt idx="1742">
                  <c:v>-2.033537214455227E-2</c:v>
                </c:pt>
                <c:pt idx="1743">
                  <c:v>-1.9526669395907012E-2</c:v>
                </c:pt>
                <c:pt idx="1744">
                  <c:v>-1.9098874292212836E-2</c:v>
                </c:pt>
                <c:pt idx="1745">
                  <c:v>-1.8000254315298433E-2</c:v>
                </c:pt>
                <c:pt idx="1746">
                  <c:v>-1.7025191003604577E-2</c:v>
                </c:pt>
                <c:pt idx="1747">
                  <c:v>-1.5869449505389009E-2</c:v>
                </c:pt>
                <c:pt idx="1748">
                  <c:v>-1.4299395573309004E-2</c:v>
                </c:pt>
                <c:pt idx="1749">
                  <c:v>-1.2142983663044109E-2</c:v>
                </c:pt>
                <c:pt idx="1750">
                  <c:v>-8.6029781795572864E-3</c:v>
                </c:pt>
                <c:pt idx="1751">
                  <c:v>-5.7494331016796777E-3</c:v>
                </c:pt>
                <c:pt idx="1752">
                  <c:v>-5.6948651592345296E-3</c:v>
                </c:pt>
                <c:pt idx="1753">
                  <c:v>-6.328274738711886E-3</c:v>
                </c:pt>
                <c:pt idx="1754">
                  <c:v>-6.0385240124162824E-3</c:v>
                </c:pt>
                <c:pt idx="1755">
                  <c:v>-6.0764647430939372E-3</c:v>
                </c:pt>
                <c:pt idx="1756">
                  <c:v>-6.1511244246486661E-3</c:v>
                </c:pt>
                <c:pt idx="1757">
                  <c:v>-6.2505195460566881E-3</c:v>
                </c:pt>
                <c:pt idx="1758">
                  <c:v>-6.1251680556845892E-3</c:v>
                </c:pt>
                <c:pt idx="1759">
                  <c:v>-5.638022394085636E-3</c:v>
                </c:pt>
                <c:pt idx="1760">
                  <c:v>-5.8964079900417398E-3</c:v>
                </c:pt>
                <c:pt idx="1761">
                  <c:v>-5.0630266849575889E-3</c:v>
                </c:pt>
                <c:pt idx="1762">
                  <c:v>-4.9949670411998815E-3</c:v>
                </c:pt>
                <c:pt idx="1763">
                  <c:v>-4.1276672657390677E-3</c:v>
                </c:pt>
                <c:pt idx="1764">
                  <c:v>-3.8078729934029089E-3</c:v>
                </c:pt>
                <c:pt idx="1765">
                  <c:v>-3.3812141510061126E-3</c:v>
                </c:pt>
                <c:pt idx="1766">
                  <c:v>-2.8464119423186381E-3</c:v>
                </c:pt>
                <c:pt idx="1767">
                  <c:v>-2.3899008920764513E-3</c:v>
                </c:pt>
                <c:pt idx="1768">
                  <c:v>-1.8792649133731586E-3</c:v>
                </c:pt>
                <c:pt idx="1769">
                  <c:v>-1.3928725872124712E-3</c:v>
                </c:pt>
                <c:pt idx="1770">
                  <c:v>-5.9068017984135156E-4</c:v>
                </c:pt>
                <c:pt idx="1771">
                  <c:v>-3.17208211041628E-5</c:v>
                </c:pt>
                <c:pt idx="1772">
                  <c:v>4.8762208860094955E-5</c:v>
                </c:pt>
                <c:pt idx="1773">
                  <c:v>4.021806982868522E-4</c:v>
                </c:pt>
                <c:pt idx="1774">
                  <c:v>1.0519211699411037E-3</c:v>
                </c:pt>
                <c:pt idx="1775">
                  <c:v>1.4314808864085808E-3</c:v>
                </c:pt>
                <c:pt idx="1776">
                  <c:v>1.4730081639334602E-3</c:v>
                </c:pt>
                <c:pt idx="1777">
                  <c:v>2.0334053859015298E-3</c:v>
                </c:pt>
                <c:pt idx="1778">
                  <c:v>2.1055421229493314E-3</c:v>
                </c:pt>
                <c:pt idx="1779">
                  <c:v>2.3573147924072311E-3</c:v>
                </c:pt>
                <c:pt idx="1780">
                  <c:v>2.6873985926912525E-3</c:v>
                </c:pt>
                <c:pt idx="1781">
                  <c:v>2.827047783490912E-3</c:v>
                </c:pt>
                <c:pt idx="1782">
                  <c:v>3.0184362906504596E-3</c:v>
                </c:pt>
                <c:pt idx="1783">
                  <c:v>4.1644749908455615E-3</c:v>
                </c:pt>
                <c:pt idx="1784">
                  <c:v>6.3060796340350545E-3</c:v>
                </c:pt>
                <c:pt idx="1785">
                  <c:v>7.9896304929675237E-3</c:v>
                </c:pt>
                <c:pt idx="1786">
                  <c:v>9.4090162103208624E-3</c:v>
                </c:pt>
                <c:pt idx="1787">
                  <c:v>1.2880657140415164E-2</c:v>
                </c:pt>
                <c:pt idx="1788">
                  <c:v>1.6321385132942963E-2</c:v>
                </c:pt>
                <c:pt idx="1789">
                  <c:v>1.9983505297214481E-2</c:v>
                </c:pt>
                <c:pt idx="1790">
                  <c:v>2.4084463746231216E-2</c:v>
                </c:pt>
                <c:pt idx="1791">
                  <c:v>2.8426934803543934E-2</c:v>
                </c:pt>
                <c:pt idx="1792">
                  <c:v>3.3249484551944118E-2</c:v>
                </c:pt>
                <c:pt idx="1793">
                  <c:v>3.7876171280076074E-2</c:v>
                </c:pt>
                <c:pt idx="1794">
                  <c:v>3.9483496225109528E-2</c:v>
                </c:pt>
                <c:pt idx="1795">
                  <c:v>4.3353227040936262E-2</c:v>
                </c:pt>
                <c:pt idx="1796">
                  <c:v>4.5641155264974101E-2</c:v>
                </c:pt>
                <c:pt idx="1797">
                  <c:v>4.8989521351851091E-2</c:v>
                </c:pt>
                <c:pt idx="1798">
                  <c:v>5.1472594883513662E-2</c:v>
                </c:pt>
                <c:pt idx="1799">
                  <c:v>5.4045165554740621E-2</c:v>
                </c:pt>
                <c:pt idx="1800">
                  <c:v>5.6378768509876387E-2</c:v>
                </c:pt>
                <c:pt idx="1801">
                  <c:v>5.8054705664899023E-2</c:v>
                </c:pt>
                <c:pt idx="1802">
                  <c:v>5.8771180799600364E-2</c:v>
                </c:pt>
                <c:pt idx="1803">
                  <c:v>6.00144495903846E-2</c:v>
                </c:pt>
                <c:pt idx="1804">
                  <c:v>6.0798610979910475E-2</c:v>
                </c:pt>
                <c:pt idx="1805">
                  <c:v>6.0719523911933762E-2</c:v>
                </c:pt>
                <c:pt idx="1806">
                  <c:v>6.2985500484857376E-2</c:v>
                </c:pt>
                <c:pt idx="1807">
                  <c:v>6.8584392468924879E-2</c:v>
                </c:pt>
                <c:pt idx="1808">
                  <c:v>7.3335311886236751E-2</c:v>
                </c:pt>
                <c:pt idx="1809">
                  <c:v>7.9161290868396308E-2</c:v>
                </c:pt>
                <c:pt idx="1810">
                  <c:v>8.3021249218801912E-2</c:v>
                </c:pt>
                <c:pt idx="1811">
                  <c:v>8.62477942470425E-2</c:v>
                </c:pt>
                <c:pt idx="1812">
                  <c:v>8.782368488834609E-2</c:v>
                </c:pt>
                <c:pt idx="1813">
                  <c:v>8.8361510297883486E-2</c:v>
                </c:pt>
                <c:pt idx="1814">
                  <c:v>8.8881804077944854E-2</c:v>
                </c:pt>
                <c:pt idx="1815">
                  <c:v>8.8036038110586107E-2</c:v>
                </c:pt>
                <c:pt idx="1816">
                  <c:v>8.6326586603480915E-2</c:v>
                </c:pt>
                <c:pt idx="1817">
                  <c:v>8.5438171694565884E-2</c:v>
                </c:pt>
                <c:pt idx="1818">
                  <c:v>8.2923096607945126E-2</c:v>
                </c:pt>
                <c:pt idx="1819">
                  <c:v>8.095922087364342E-2</c:v>
                </c:pt>
                <c:pt idx="1820">
                  <c:v>7.9247179911606583E-2</c:v>
                </c:pt>
                <c:pt idx="1821">
                  <c:v>7.5455051441003229E-2</c:v>
                </c:pt>
                <c:pt idx="1822">
                  <c:v>7.3511528811478294E-2</c:v>
                </c:pt>
                <c:pt idx="1823">
                  <c:v>6.9818820839625387E-2</c:v>
                </c:pt>
                <c:pt idx="1824">
                  <c:v>6.559377775863727E-2</c:v>
                </c:pt>
                <c:pt idx="1825">
                  <c:v>6.1102163691933956E-2</c:v>
                </c:pt>
                <c:pt idx="1826">
                  <c:v>5.6725445964847562E-2</c:v>
                </c:pt>
                <c:pt idx="1827">
                  <c:v>5.2797490148385862E-2</c:v>
                </c:pt>
                <c:pt idx="1828">
                  <c:v>4.8581701833409686E-2</c:v>
                </c:pt>
                <c:pt idx="1829">
                  <c:v>4.4835532159341288E-2</c:v>
                </c:pt>
                <c:pt idx="1830">
                  <c:v>4.1097661342636038E-2</c:v>
                </c:pt>
                <c:pt idx="1831">
                  <c:v>3.6683175097052434E-2</c:v>
                </c:pt>
                <c:pt idx="1832">
                  <c:v>3.1385104938874774E-2</c:v>
                </c:pt>
                <c:pt idx="1833">
                  <c:v>2.5395836223322803E-2</c:v>
                </c:pt>
                <c:pt idx="1834">
                  <c:v>1.45784792422955E-2</c:v>
                </c:pt>
                <c:pt idx="1835">
                  <c:v>3.5996017581162252E-3</c:v>
                </c:pt>
                <c:pt idx="1836">
                  <c:v>-4.7162800581694794E-3</c:v>
                </c:pt>
                <c:pt idx="1837">
                  <c:v>-8.5873347672676768E-3</c:v>
                </c:pt>
                <c:pt idx="1838">
                  <c:v>-1.1659583963789565E-2</c:v>
                </c:pt>
                <c:pt idx="1839">
                  <c:v>-1.1853436086333718E-2</c:v>
                </c:pt>
                <c:pt idx="1840">
                  <c:v>-1.1929317085482807E-2</c:v>
                </c:pt>
                <c:pt idx="1841">
                  <c:v>-1.1938133669147819E-2</c:v>
                </c:pt>
                <c:pt idx="1842">
                  <c:v>-1.1759694675652072E-2</c:v>
                </c:pt>
                <c:pt idx="1843">
                  <c:v>-1.1653703341082438E-2</c:v>
                </c:pt>
                <c:pt idx="1844">
                  <c:v>-1.1353023180029547E-2</c:v>
                </c:pt>
                <c:pt idx="1845">
                  <c:v>-1.055154817910807E-2</c:v>
                </c:pt>
                <c:pt idx="1846">
                  <c:v>-9.7774265417080765E-3</c:v>
                </c:pt>
                <c:pt idx="1847">
                  <c:v>-9.3089280775859283E-3</c:v>
                </c:pt>
                <c:pt idx="1848">
                  <c:v>-8.9157580930773542E-3</c:v>
                </c:pt>
                <c:pt idx="1849">
                  <c:v>-8.5892138758140637E-3</c:v>
                </c:pt>
                <c:pt idx="1850">
                  <c:v>-8.2925091874713128E-3</c:v>
                </c:pt>
                <c:pt idx="1851">
                  <c:v>-7.6333296910059065E-3</c:v>
                </c:pt>
                <c:pt idx="1852">
                  <c:v>-7.1664726161325219E-3</c:v>
                </c:pt>
                <c:pt idx="1853">
                  <c:v>-6.9626527224622894E-3</c:v>
                </c:pt>
                <c:pt idx="1854">
                  <c:v>-6.725985195048207E-3</c:v>
                </c:pt>
                <c:pt idx="1855">
                  <c:v>-6.1232356635951956E-3</c:v>
                </c:pt>
                <c:pt idx="1856">
                  <c:v>-6.3298476639542991E-3</c:v>
                </c:pt>
                <c:pt idx="1857">
                  <c:v>-6.0337873584029233E-3</c:v>
                </c:pt>
                <c:pt idx="1858">
                  <c:v>-5.7407166196003744E-3</c:v>
                </c:pt>
                <c:pt idx="1859">
                  <c:v>-5.7372691975982049E-3</c:v>
                </c:pt>
                <c:pt idx="1860">
                  <c:v>-5.7499149752882252E-3</c:v>
                </c:pt>
                <c:pt idx="1861">
                  <c:v>-5.7451055164814248E-3</c:v>
                </c:pt>
                <c:pt idx="1862">
                  <c:v>-5.8034036882222756E-3</c:v>
                </c:pt>
                <c:pt idx="1863">
                  <c:v>-5.7875646829598764E-3</c:v>
                </c:pt>
                <c:pt idx="1864">
                  <c:v>-5.538409576850368E-3</c:v>
                </c:pt>
                <c:pt idx="1865">
                  <c:v>-5.7984826985962032E-3</c:v>
                </c:pt>
                <c:pt idx="1866">
                  <c:v>-5.8597745226278653E-3</c:v>
                </c:pt>
                <c:pt idx="1867">
                  <c:v>-5.9611917805505385E-3</c:v>
                </c:pt>
                <c:pt idx="1868">
                  <c:v>-5.9984854807084457E-3</c:v>
                </c:pt>
                <c:pt idx="1869">
                  <c:v>-6.084795701953207E-3</c:v>
                </c:pt>
                <c:pt idx="1870">
                  <c:v>-6.0456188790401948E-3</c:v>
                </c:pt>
                <c:pt idx="1871">
                  <c:v>-6.0382324795510032E-3</c:v>
                </c:pt>
                <c:pt idx="1872">
                  <c:v>-6.005166449455813E-3</c:v>
                </c:pt>
                <c:pt idx="1873">
                  <c:v>-6.0562192546099484E-3</c:v>
                </c:pt>
                <c:pt idx="1874">
                  <c:v>-6.0831749391995421E-3</c:v>
                </c:pt>
                <c:pt idx="1875">
                  <c:v>-6.5055670393752048E-3</c:v>
                </c:pt>
                <c:pt idx="1876">
                  <c:v>-6.6640912810597298E-3</c:v>
                </c:pt>
                <c:pt idx="1877">
                  <c:v>-6.8067425742912172E-3</c:v>
                </c:pt>
                <c:pt idx="1878">
                  <c:v>-6.8759878944667204E-3</c:v>
                </c:pt>
                <c:pt idx="1879">
                  <c:v>-6.9093538911749628E-3</c:v>
                </c:pt>
                <c:pt idx="1880">
                  <c:v>-6.9524630863445651E-3</c:v>
                </c:pt>
                <c:pt idx="1881">
                  <c:v>-7.5002115047011911E-3</c:v>
                </c:pt>
                <c:pt idx="1882">
                  <c:v>-8.1627728770098315E-3</c:v>
                </c:pt>
                <c:pt idx="1883">
                  <c:v>-8.4981158788765936E-3</c:v>
                </c:pt>
                <c:pt idx="1884">
                  <c:v>-8.715584513374789E-3</c:v>
                </c:pt>
                <c:pt idx="1885">
                  <c:v>-8.8510257660550495E-3</c:v>
                </c:pt>
                <c:pt idx="1886">
                  <c:v>-9.1146082411096251E-3</c:v>
                </c:pt>
                <c:pt idx="1887">
                  <c:v>-9.545028292280721E-3</c:v>
                </c:pt>
                <c:pt idx="1888">
                  <c:v>-9.8673572924087728E-3</c:v>
                </c:pt>
                <c:pt idx="1889">
                  <c:v>-1.0052163510619987E-2</c:v>
                </c:pt>
                <c:pt idx="1890">
                  <c:v>-1.052679696086384E-2</c:v>
                </c:pt>
                <c:pt idx="1891">
                  <c:v>-1.1033661560605108E-2</c:v>
                </c:pt>
                <c:pt idx="1892">
                  <c:v>-1.1182244750927021E-2</c:v>
                </c:pt>
                <c:pt idx="1893">
                  <c:v>-1.1686284546301332E-2</c:v>
                </c:pt>
                <c:pt idx="1894">
                  <c:v>-1.2456667108032445E-2</c:v>
                </c:pt>
                <c:pt idx="1895">
                  <c:v>-1.2743082272512592E-2</c:v>
                </c:pt>
                <c:pt idx="1896">
                  <c:v>-1.3077108768765796E-2</c:v>
                </c:pt>
                <c:pt idx="1897">
                  <c:v>-1.3699156283003461E-2</c:v>
                </c:pt>
                <c:pt idx="1898">
                  <c:v>-1.4676148766339587E-2</c:v>
                </c:pt>
                <c:pt idx="1899">
                  <c:v>-1.574112224798007E-2</c:v>
                </c:pt>
                <c:pt idx="1900">
                  <c:v>-1.6608240934634755E-2</c:v>
                </c:pt>
                <c:pt idx="1901">
                  <c:v>-1.7423119033587682E-2</c:v>
                </c:pt>
                <c:pt idx="1902">
                  <c:v>-1.8055683415574772E-2</c:v>
                </c:pt>
                <c:pt idx="1903">
                  <c:v>-1.8649904270979924E-2</c:v>
                </c:pt>
                <c:pt idx="1904">
                  <c:v>-1.9131097624339847E-2</c:v>
                </c:pt>
                <c:pt idx="1905">
                  <c:v>-1.8500107946329176E-2</c:v>
                </c:pt>
                <c:pt idx="1906">
                  <c:v>-1.83192826981214E-2</c:v>
                </c:pt>
                <c:pt idx="1907">
                  <c:v>-1.80139070285893E-2</c:v>
                </c:pt>
                <c:pt idx="1908">
                  <c:v>-1.7860245981470284E-2</c:v>
                </c:pt>
                <c:pt idx="1909">
                  <c:v>-1.7385820364613343E-2</c:v>
                </c:pt>
                <c:pt idx="1910">
                  <c:v>-1.7169310591954066E-2</c:v>
                </c:pt>
                <c:pt idx="1911">
                  <c:v>-1.7186611798138032E-2</c:v>
                </c:pt>
                <c:pt idx="1912">
                  <c:v>-1.687638349109364E-2</c:v>
                </c:pt>
                <c:pt idx="1913">
                  <c:v>-1.6564715315390735E-2</c:v>
                </c:pt>
                <c:pt idx="1914">
                  <c:v>-1.6650590090187881E-2</c:v>
                </c:pt>
                <c:pt idx="1915">
                  <c:v>-1.6543433620438114E-2</c:v>
                </c:pt>
                <c:pt idx="1916">
                  <c:v>-1.6112410514447742E-2</c:v>
                </c:pt>
                <c:pt idx="1917">
                  <c:v>-1.5976253354558122E-2</c:v>
                </c:pt>
                <c:pt idx="1918">
                  <c:v>-1.5687815933881171E-2</c:v>
                </c:pt>
                <c:pt idx="1919">
                  <c:v>-1.5298949265385935E-2</c:v>
                </c:pt>
                <c:pt idx="1920">
                  <c:v>-1.4966071596976774E-2</c:v>
                </c:pt>
                <c:pt idx="1921">
                  <c:v>-1.4715751206404219E-2</c:v>
                </c:pt>
                <c:pt idx="1922">
                  <c:v>-1.4212711963408387E-2</c:v>
                </c:pt>
                <c:pt idx="1923">
                  <c:v>-1.3641517794778605E-2</c:v>
                </c:pt>
                <c:pt idx="1924">
                  <c:v>-1.3250358648219145E-2</c:v>
                </c:pt>
                <c:pt idx="1925">
                  <c:v>-1.2922731883287167E-2</c:v>
                </c:pt>
                <c:pt idx="1926">
                  <c:v>-1.253288373466461E-2</c:v>
                </c:pt>
                <c:pt idx="1927">
                  <c:v>-1.20515366900695E-2</c:v>
                </c:pt>
                <c:pt idx="1928">
                  <c:v>-1.1893136579045867E-2</c:v>
                </c:pt>
                <c:pt idx="1929">
                  <c:v>-1.2058949569818032E-2</c:v>
                </c:pt>
                <c:pt idx="1930">
                  <c:v>-1.2270665155969177E-2</c:v>
                </c:pt>
                <c:pt idx="1931">
                  <c:v>-1.2346061483089107E-2</c:v>
                </c:pt>
                <c:pt idx="1932">
                  <c:v>-1.2476192838586685E-2</c:v>
                </c:pt>
                <c:pt idx="1933">
                  <c:v>-1.2420661256324048E-2</c:v>
                </c:pt>
                <c:pt idx="1934">
                  <c:v>-1.2671062797961362E-2</c:v>
                </c:pt>
                <c:pt idx="1935">
                  <c:v>-1.2258209830767803E-2</c:v>
                </c:pt>
                <c:pt idx="1936">
                  <c:v>-1.2203039225415132E-2</c:v>
                </c:pt>
                <c:pt idx="1937">
                  <c:v>-1.2365090670481669E-2</c:v>
                </c:pt>
                <c:pt idx="1938">
                  <c:v>-1.215996855790972E-2</c:v>
                </c:pt>
                <c:pt idx="1939">
                  <c:v>-1.1976121166413405E-2</c:v>
                </c:pt>
                <c:pt idx="1940">
                  <c:v>-1.1991281671424119E-2</c:v>
                </c:pt>
                <c:pt idx="1941">
                  <c:v>-1.1661357357278204E-2</c:v>
                </c:pt>
                <c:pt idx="1942">
                  <c:v>-1.1317582382650872E-2</c:v>
                </c:pt>
                <c:pt idx="1943">
                  <c:v>-1.132026440608945E-2</c:v>
                </c:pt>
                <c:pt idx="1944">
                  <c:v>-1.1111226337092843E-2</c:v>
                </c:pt>
                <c:pt idx="1945">
                  <c:v>-1.1002587858408217E-2</c:v>
                </c:pt>
                <c:pt idx="1946">
                  <c:v>-1.1023455150342046E-2</c:v>
                </c:pt>
                <c:pt idx="1947">
                  <c:v>-1.0818684084534002E-2</c:v>
                </c:pt>
                <c:pt idx="1948">
                  <c:v>-1.0742545405071899E-2</c:v>
                </c:pt>
                <c:pt idx="1949">
                  <c:v>-1.0633825452812502E-2</c:v>
                </c:pt>
                <c:pt idx="1950">
                  <c:v>-1.0358632066056788E-2</c:v>
                </c:pt>
                <c:pt idx="1951">
                  <c:v>-9.9128340129432963E-3</c:v>
                </c:pt>
                <c:pt idx="1952">
                  <c:v>-9.8684746986993314E-3</c:v>
                </c:pt>
                <c:pt idx="1953">
                  <c:v>-9.514618996049988E-3</c:v>
                </c:pt>
                <c:pt idx="1954">
                  <c:v>-9.2842641015863508E-3</c:v>
                </c:pt>
                <c:pt idx="1955">
                  <c:v>-9.0077146218803424E-3</c:v>
                </c:pt>
                <c:pt idx="1956">
                  <c:v>-8.7273824582926856E-3</c:v>
                </c:pt>
                <c:pt idx="1957">
                  <c:v>-8.4223339900169926E-3</c:v>
                </c:pt>
                <c:pt idx="1958">
                  <c:v>-8.1391529238232958E-3</c:v>
                </c:pt>
                <c:pt idx="1959">
                  <c:v>-7.5796357937308297E-3</c:v>
                </c:pt>
                <c:pt idx="1960">
                  <c:v>-7.1212519507400799E-3</c:v>
                </c:pt>
                <c:pt idx="1961">
                  <c:v>-6.5862111065118764E-3</c:v>
                </c:pt>
                <c:pt idx="1962">
                  <c:v>-6.1870746740062404E-3</c:v>
                </c:pt>
                <c:pt idx="1963">
                  <c:v>-6.0937119167810243E-3</c:v>
                </c:pt>
                <c:pt idx="1964">
                  <c:v>-5.5355551108300857E-3</c:v>
                </c:pt>
                <c:pt idx="1965">
                  <c:v>-5.3300021284159874E-3</c:v>
                </c:pt>
                <c:pt idx="1966">
                  <c:v>-5.1790462856398829E-3</c:v>
                </c:pt>
                <c:pt idx="1967">
                  <c:v>-4.7954146741509655E-3</c:v>
                </c:pt>
                <c:pt idx="1968">
                  <c:v>-4.4836137985214408E-3</c:v>
                </c:pt>
                <c:pt idx="1969">
                  <c:v>-4.6180794459569855E-3</c:v>
                </c:pt>
                <c:pt idx="1970">
                  <c:v>-4.4135462537398425E-3</c:v>
                </c:pt>
                <c:pt idx="1971">
                  <c:v>-4.4120569219435451E-3</c:v>
                </c:pt>
                <c:pt idx="1972">
                  <c:v>-4.8293317806925203E-3</c:v>
                </c:pt>
                <c:pt idx="1973">
                  <c:v>-4.8491808349645921E-3</c:v>
                </c:pt>
                <c:pt idx="1974">
                  <c:v>-5.0274077801323955E-3</c:v>
                </c:pt>
                <c:pt idx="1975">
                  <c:v>-5.2940035421911447E-3</c:v>
                </c:pt>
                <c:pt idx="1976">
                  <c:v>-5.5319578782751355E-3</c:v>
                </c:pt>
                <c:pt idx="1977">
                  <c:v>-5.6623920032897734E-3</c:v>
                </c:pt>
                <c:pt idx="1978">
                  <c:v>-6.0015438243441483E-3</c:v>
                </c:pt>
                <c:pt idx="1979">
                  <c:v>-6.4887513779968561E-3</c:v>
                </c:pt>
                <c:pt idx="1980">
                  <c:v>-7.4273774331509957E-3</c:v>
                </c:pt>
                <c:pt idx="1981">
                  <c:v>-7.5125567343054308E-3</c:v>
                </c:pt>
                <c:pt idx="1982">
                  <c:v>-7.5169892599360891E-3</c:v>
                </c:pt>
                <c:pt idx="1983">
                  <c:v>-7.4265215142222249E-3</c:v>
                </c:pt>
                <c:pt idx="1984">
                  <c:v>-7.1327861945018898E-3</c:v>
                </c:pt>
                <c:pt idx="1985">
                  <c:v>-7.1809479724671702E-3</c:v>
                </c:pt>
                <c:pt idx="1986">
                  <c:v>-6.0547517614834359E-3</c:v>
                </c:pt>
                <c:pt idx="1987">
                  <c:v>-5.8317699533374781E-3</c:v>
                </c:pt>
                <c:pt idx="1988">
                  <c:v>-5.7824198412474315E-3</c:v>
                </c:pt>
                <c:pt idx="1989">
                  <c:v>-5.9666110767570149E-3</c:v>
                </c:pt>
                <c:pt idx="1990">
                  <c:v>-5.9389041208185106E-3</c:v>
                </c:pt>
                <c:pt idx="1991">
                  <c:v>-5.3198963189424221E-3</c:v>
                </c:pt>
                <c:pt idx="1992">
                  <c:v>-5.3660796962424805E-3</c:v>
                </c:pt>
                <c:pt idx="1993">
                  <c:v>-5.3276575645816067E-3</c:v>
                </c:pt>
                <c:pt idx="1994">
                  <c:v>-5.3531771892320751E-3</c:v>
                </c:pt>
                <c:pt idx="1995">
                  <c:v>-5.3188363118911669E-3</c:v>
                </c:pt>
                <c:pt idx="1996">
                  <c:v>-5.2886970535079656E-3</c:v>
                </c:pt>
                <c:pt idx="1997">
                  <c:v>-5.2959186014266144E-3</c:v>
                </c:pt>
                <c:pt idx="1998">
                  <c:v>-5.2636300824217544E-3</c:v>
                </c:pt>
                <c:pt idx="1999">
                  <c:v>-5.2220138982599779E-3</c:v>
                </c:pt>
                <c:pt idx="2000">
                  <c:v>-5.1750292882541751E-3</c:v>
                </c:pt>
                <c:pt idx="2001">
                  <c:v>-5.0508996703352519E-3</c:v>
                </c:pt>
                <c:pt idx="2002">
                  <c:v>-4.9336917576189455E-3</c:v>
                </c:pt>
                <c:pt idx="2003">
                  <c:v>-5.0302012721605335E-3</c:v>
                </c:pt>
                <c:pt idx="2004">
                  <c:v>-4.8923686724392582E-3</c:v>
                </c:pt>
                <c:pt idx="2005">
                  <c:v>-4.7532885790678211E-3</c:v>
                </c:pt>
                <c:pt idx="2006">
                  <c:v>-4.6423434244127343E-3</c:v>
                </c:pt>
                <c:pt idx="2007">
                  <c:v>-4.7397010797975026E-3</c:v>
                </c:pt>
                <c:pt idx="2008">
                  <c:v>-4.6893934648518619E-3</c:v>
                </c:pt>
                <c:pt idx="2009">
                  <c:v>-4.5776358792359185E-3</c:v>
                </c:pt>
                <c:pt idx="2010">
                  <c:v>-4.6189250573757615E-3</c:v>
                </c:pt>
                <c:pt idx="2011">
                  <c:v>-4.6302738856443659E-3</c:v>
                </c:pt>
                <c:pt idx="2012">
                  <c:v>-4.5364680784325678E-3</c:v>
                </c:pt>
                <c:pt idx="2013">
                  <c:v>-4.6766768707155442E-3</c:v>
                </c:pt>
                <c:pt idx="2014">
                  <c:v>-5.0291436416064501E-3</c:v>
                </c:pt>
                <c:pt idx="2015">
                  <c:v>-5.0839332139172629E-3</c:v>
                </c:pt>
                <c:pt idx="2016">
                  <c:v>-4.9222190435930235E-3</c:v>
                </c:pt>
                <c:pt idx="2017">
                  <c:v>-4.8104807248540975E-3</c:v>
                </c:pt>
                <c:pt idx="2018">
                  <c:v>-5.0157073482626248E-3</c:v>
                </c:pt>
                <c:pt idx="2019">
                  <c:v>-5.1628064220822951E-3</c:v>
                </c:pt>
                <c:pt idx="2020">
                  <c:v>-5.2497379016250567E-3</c:v>
                </c:pt>
                <c:pt idx="2021">
                  <c:v>-5.4859733828689838E-3</c:v>
                </c:pt>
                <c:pt idx="2022">
                  <c:v>-5.6654005082062888E-3</c:v>
                </c:pt>
                <c:pt idx="2023">
                  <c:v>-5.6571279207770671E-3</c:v>
                </c:pt>
                <c:pt idx="2024">
                  <c:v>-5.8329424544523618E-3</c:v>
                </c:pt>
                <c:pt idx="2025">
                  <c:v>-6.1662361853151871E-3</c:v>
                </c:pt>
                <c:pt idx="2026">
                  <c:v>-6.0449054523035294E-3</c:v>
                </c:pt>
                <c:pt idx="2027">
                  <c:v>-5.9079107348257928E-3</c:v>
                </c:pt>
                <c:pt idx="2028">
                  <c:v>-6.0634354256753802E-3</c:v>
                </c:pt>
                <c:pt idx="2029">
                  <c:v>-6.0995975137175832E-3</c:v>
                </c:pt>
                <c:pt idx="2030">
                  <c:v>-6.0547953378150329E-3</c:v>
                </c:pt>
                <c:pt idx="2031">
                  <c:v>-6.2539246759781139E-3</c:v>
                </c:pt>
                <c:pt idx="2032">
                  <c:v>-6.2776274123815699E-3</c:v>
                </c:pt>
                <c:pt idx="2033">
                  <c:v>-6.2717817208572191E-3</c:v>
                </c:pt>
                <c:pt idx="2034">
                  <c:v>-6.394330167314991E-3</c:v>
                </c:pt>
                <c:pt idx="2035">
                  <c:v>-6.5335524787731459E-3</c:v>
                </c:pt>
                <c:pt idx="2036">
                  <c:v>-6.6392998704501646E-3</c:v>
                </c:pt>
                <c:pt idx="2037">
                  <c:v>-6.7404890913936753E-3</c:v>
                </c:pt>
                <c:pt idx="2038">
                  <c:v>-6.7425342043279084E-3</c:v>
                </c:pt>
                <c:pt idx="2039">
                  <c:v>-6.698385175672724E-3</c:v>
                </c:pt>
                <c:pt idx="2040">
                  <c:v>-6.7024340289508115E-3</c:v>
                </c:pt>
                <c:pt idx="2041">
                  <c:v>-6.8256497127808053E-3</c:v>
                </c:pt>
                <c:pt idx="2042">
                  <c:v>-6.7513569185469217E-3</c:v>
                </c:pt>
                <c:pt idx="2043">
                  <c:v>-6.6370290505955373E-3</c:v>
                </c:pt>
                <c:pt idx="2044">
                  <c:v>-6.6596528452451814E-3</c:v>
                </c:pt>
                <c:pt idx="2045">
                  <c:v>-6.4798532309395616E-3</c:v>
                </c:pt>
                <c:pt idx="2046">
                  <c:v>-6.5991843226324842E-3</c:v>
                </c:pt>
                <c:pt idx="2047">
                  <c:v>-6.9911632026040272E-3</c:v>
                </c:pt>
                <c:pt idx="2048">
                  <c:v>-6.9258312206434604E-3</c:v>
                </c:pt>
                <c:pt idx="2049">
                  <c:v>-6.8392603106183425E-3</c:v>
                </c:pt>
                <c:pt idx="2050">
                  <c:v>-6.8159759681363707E-3</c:v>
                </c:pt>
                <c:pt idx="2051">
                  <c:v>-6.777310523394647E-3</c:v>
                </c:pt>
                <c:pt idx="2052">
                  <c:v>-6.8298405595579965E-3</c:v>
                </c:pt>
                <c:pt idx="2053">
                  <c:v>-6.7227170777470991E-3</c:v>
                </c:pt>
                <c:pt idx="2054">
                  <c:v>-6.6728691177960504E-3</c:v>
                </c:pt>
                <c:pt idx="2055">
                  <c:v>-6.536130057943252E-3</c:v>
                </c:pt>
                <c:pt idx="2056">
                  <c:v>-6.5090058276114525E-3</c:v>
                </c:pt>
                <c:pt idx="2057">
                  <c:v>-6.6612391749825148E-3</c:v>
                </c:pt>
                <c:pt idx="2058">
                  <c:v>-6.5909587318312519E-3</c:v>
                </c:pt>
                <c:pt idx="2059">
                  <c:v>-6.5882023493033419E-3</c:v>
                </c:pt>
                <c:pt idx="2060">
                  <c:v>-6.6055008618939558E-3</c:v>
                </c:pt>
                <c:pt idx="2061">
                  <c:v>-6.6809350077009257E-3</c:v>
                </c:pt>
                <c:pt idx="2062">
                  <c:v>-6.6514488854683435E-3</c:v>
                </c:pt>
                <c:pt idx="2063">
                  <c:v>-6.6166039529770267E-3</c:v>
                </c:pt>
                <c:pt idx="2064">
                  <c:v>-6.7719625293209979E-3</c:v>
                </c:pt>
                <c:pt idx="2065">
                  <c:v>-6.8585382339878664E-3</c:v>
                </c:pt>
                <c:pt idx="2066">
                  <c:v>-6.723113712547516E-3</c:v>
                </c:pt>
                <c:pt idx="2067">
                  <c:v>-6.7049288188565058E-3</c:v>
                </c:pt>
                <c:pt idx="2068">
                  <c:v>-6.5855858952415438E-3</c:v>
                </c:pt>
                <c:pt idx="2069">
                  <c:v>-5.8157989896638384E-3</c:v>
                </c:pt>
                <c:pt idx="2070">
                  <c:v>-5.5541785318313445E-3</c:v>
                </c:pt>
                <c:pt idx="2071">
                  <c:v>-5.132971927861496E-3</c:v>
                </c:pt>
                <c:pt idx="2072">
                  <c:v>-4.9793520073718543E-3</c:v>
                </c:pt>
                <c:pt idx="2073">
                  <c:v>-5.1057516200499579E-3</c:v>
                </c:pt>
                <c:pt idx="2074">
                  <c:v>-4.9600271177025219E-3</c:v>
                </c:pt>
                <c:pt idx="2075">
                  <c:v>-5.106308840484422E-3</c:v>
                </c:pt>
                <c:pt idx="2076">
                  <c:v>-5.1163696181533332E-3</c:v>
                </c:pt>
                <c:pt idx="2077">
                  <c:v>-5.0825873634278203E-3</c:v>
                </c:pt>
                <c:pt idx="2078">
                  <c:v>-4.8712953901490462E-3</c:v>
                </c:pt>
                <c:pt idx="2079">
                  <c:v>-4.8413724924473624E-3</c:v>
                </c:pt>
                <c:pt idx="2080">
                  <c:v>-5.0506978071547613E-3</c:v>
                </c:pt>
                <c:pt idx="2081">
                  <c:v>-4.8734558163619265E-3</c:v>
                </c:pt>
                <c:pt idx="2082">
                  <c:v>-4.8225339837919198E-3</c:v>
                </c:pt>
                <c:pt idx="2083">
                  <c:v>-5.031663086400873E-3</c:v>
                </c:pt>
                <c:pt idx="2084">
                  <c:v>-5.1237713234129952E-3</c:v>
                </c:pt>
                <c:pt idx="2085">
                  <c:v>-5.1388356257931374E-3</c:v>
                </c:pt>
                <c:pt idx="2086">
                  <c:v>-5.0798979440223654E-3</c:v>
                </c:pt>
                <c:pt idx="2087">
                  <c:v>-5.0379421731947711E-3</c:v>
                </c:pt>
                <c:pt idx="2088">
                  <c:v>-5.0522647404169889E-3</c:v>
                </c:pt>
                <c:pt idx="2089">
                  <c:v>-5.0039442846621981E-3</c:v>
                </c:pt>
                <c:pt idx="2090">
                  <c:v>-5.087287753906905E-3</c:v>
                </c:pt>
                <c:pt idx="2091">
                  <c:v>-4.9798933106951753E-3</c:v>
                </c:pt>
                <c:pt idx="2092">
                  <c:v>-5.0071285883873991E-3</c:v>
                </c:pt>
                <c:pt idx="2093">
                  <c:v>-5.0668829948200579E-3</c:v>
                </c:pt>
                <c:pt idx="2094">
                  <c:v>-5.1194948300594748E-3</c:v>
                </c:pt>
                <c:pt idx="2095">
                  <c:v>-4.9088669289453161E-3</c:v>
                </c:pt>
                <c:pt idx="2096">
                  <c:v>-4.8971655897584402E-3</c:v>
                </c:pt>
                <c:pt idx="2097">
                  <c:v>-4.6462408166670147E-3</c:v>
                </c:pt>
                <c:pt idx="2098">
                  <c:v>-4.532610618691757E-3</c:v>
                </c:pt>
                <c:pt idx="2099">
                  <c:v>-4.676093849071479E-3</c:v>
                </c:pt>
                <c:pt idx="2100">
                  <c:v>-4.392329697006557E-3</c:v>
                </c:pt>
                <c:pt idx="2101">
                  <c:v>-4.1256992290915027E-3</c:v>
                </c:pt>
                <c:pt idx="2102">
                  <c:v>-3.9966219054739689E-3</c:v>
                </c:pt>
                <c:pt idx="2103">
                  <c:v>-3.9040825171740672E-3</c:v>
                </c:pt>
                <c:pt idx="2104">
                  <c:v>-3.7737864299765261E-3</c:v>
                </c:pt>
                <c:pt idx="2105">
                  <c:v>-3.4415683239956817E-3</c:v>
                </c:pt>
                <c:pt idx="2106">
                  <c:v>-2.8494607202865698E-3</c:v>
                </c:pt>
                <c:pt idx="2107">
                  <c:v>-2.5328271511835237E-3</c:v>
                </c:pt>
                <c:pt idx="2108">
                  <c:v>-2.7241103921314697E-3</c:v>
                </c:pt>
                <c:pt idx="2109">
                  <c:v>-2.6635988664888664E-3</c:v>
                </c:pt>
                <c:pt idx="2110">
                  <c:v>-2.5559769024666237E-3</c:v>
                </c:pt>
                <c:pt idx="2111">
                  <c:v>-2.9442075299928334E-3</c:v>
                </c:pt>
                <c:pt idx="2112">
                  <c:v>-3.3433796877189986E-3</c:v>
                </c:pt>
                <c:pt idx="2113">
                  <c:v>-3.2758753024889134E-3</c:v>
                </c:pt>
                <c:pt idx="2114">
                  <c:v>-3.1058323394344747E-3</c:v>
                </c:pt>
                <c:pt idx="2115">
                  <c:v>-3.0970602378918941E-3</c:v>
                </c:pt>
                <c:pt idx="2116">
                  <c:v>-3.1331914887757911E-3</c:v>
                </c:pt>
                <c:pt idx="2117">
                  <c:v>-3.1292100899280688E-3</c:v>
                </c:pt>
                <c:pt idx="2118">
                  <c:v>-3.2883732561717633E-3</c:v>
                </c:pt>
                <c:pt idx="2119">
                  <c:v>-3.3974380884340492E-3</c:v>
                </c:pt>
                <c:pt idx="2120">
                  <c:v>-3.4721595838444856E-3</c:v>
                </c:pt>
                <c:pt idx="2121">
                  <c:v>-3.7055304758181872E-3</c:v>
                </c:pt>
                <c:pt idx="2122">
                  <c:v>-3.8944048366207872E-3</c:v>
                </c:pt>
                <c:pt idx="2123">
                  <c:v>-4.0775826154570774E-3</c:v>
                </c:pt>
                <c:pt idx="2124">
                  <c:v>-4.2799422268047522E-3</c:v>
                </c:pt>
                <c:pt idx="2125">
                  <c:v>-4.5734456310908538E-3</c:v>
                </c:pt>
                <c:pt idx="2126">
                  <c:v>-4.660066085568744E-3</c:v>
                </c:pt>
                <c:pt idx="2127">
                  <c:v>-4.7669894042534789E-3</c:v>
                </c:pt>
                <c:pt idx="2128">
                  <c:v>-5.0918483867886926E-3</c:v>
                </c:pt>
                <c:pt idx="2129">
                  <c:v>-5.1807815020241503E-3</c:v>
                </c:pt>
                <c:pt idx="2130">
                  <c:v>-5.2443528618652917E-3</c:v>
                </c:pt>
                <c:pt idx="2131">
                  <c:v>-5.4860692373516484E-3</c:v>
                </c:pt>
                <c:pt idx="2132">
                  <c:v>-5.5986658830362917E-3</c:v>
                </c:pt>
                <c:pt idx="2133">
                  <c:v>-5.2892377635912757E-3</c:v>
                </c:pt>
                <c:pt idx="2134">
                  <c:v>-5.016362054597245E-3</c:v>
                </c:pt>
                <c:pt idx="2135">
                  <c:v>-5.2530132250838369E-3</c:v>
                </c:pt>
                <c:pt idx="2136">
                  <c:v>-5.5007466326994848E-3</c:v>
                </c:pt>
                <c:pt idx="2137">
                  <c:v>-5.51286654223205E-3</c:v>
                </c:pt>
                <c:pt idx="2138">
                  <c:v>-5.3467400202406009E-3</c:v>
                </c:pt>
                <c:pt idx="2139">
                  <c:v>-5.539455449834944E-3</c:v>
                </c:pt>
                <c:pt idx="2140">
                  <c:v>-5.7410256131163635E-3</c:v>
                </c:pt>
                <c:pt idx="2141">
                  <c:v>-5.5596708402052622E-3</c:v>
                </c:pt>
                <c:pt idx="2142">
                  <c:v>-5.5575667844903476E-3</c:v>
                </c:pt>
                <c:pt idx="2143">
                  <c:v>-5.4378626376281273E-3</c:v>
                </c:pt>
                <c:pt idx="2144">
                  <c:v>-5.6060916530856616E-3</c:v>
                </c:pt>
                <c:pt idx="2145">
                  <c:v>-5.6444176698994082E-3</c:v>
                </c:pt>
                <c:pt idx="2146">
                  <c:v>-5.8157319148443463E-3</c:v>
                </c:pt>
                <c:pt idx="2147">
                  <c:v>-5.9146666272965522E-3</c:v>
                </c:pt>
                <c:pt idx="2148">
                  <c:v>-5.9424381014326439E-3</c:v>
                </c:pt>
                <c:pt idx="2149">
                  <c:v>-5.9090155231168295E-3</c:v>
                </c:pt>
                <c:pt idx="2150">
                  <c:v>-5.8942826490299667E-3</c:v>
                </c:pt>
                <c:pt idx="2151">
                  <c:v>-5.8568185160317405E-3</c:v>
                </c:pt>
                <c:pt idx="2152">
                  <c:v>-5.7122884920300741E-3</c:v>
                </c:pt>
                <c:pt idx="2153">
                  <c:v>-5.5403711119563917E-3</c:v>
                </c:pt>
                <c:pt idx="2154">
                  <c:v>-5.5686397669637688E-3</c:v>
                </c:pt>
                <c:pt idx="2155">
                  <c:v>-5.2376827567136375E-3</c:v>
                </c:pt>
                <c:pt idx="2156">
                  <c:v>-5.2157668177865687E-3</c:v>
                </c:pt>
                <c:pt idx="2157">
                  <c:v>-5.3903092504962698E-3</c:v>
                </c:pt>
                <c:pt idx="2158">
                  <c:v>-5.1317147082305375E-3</c:v>
                </c:pt>
                <c:pt idx="2159">
                  <c:v>-4.9729738283612081E-3</c:v>
                </c:pt>
                <c:pt idx="2160">
                  <c:v>-5.0845724276129736E-3</c:v>
                </c:pt>
                <c:pt idx="2161">
                  <c:v>-4.9256936078350324E-3</c:v>
                </c:pt>
                <c:pt idx="2162">
                  <c:v>-4.7827443555062774E-3</c:v>
                </c:pt>
                <c:pt idx="2163">
                  <c:v>-4.9241933038829851E-3</c:v>
                </c:pt>
                <c:pt idx="2164">
                  <c:v>-5.0540937578476969E-3</c:v>
                </c:pt>
                <c:pt idx="2165">
                  <c:v>-4.9367534848939552E-3</c:v>
                </c:pt>
                <c:pt idx="2166">
                  <c:v>-5.1664146116064784E-3</c:v>
                </c:pt>
                <c:pt idx="2167">
                  <c:v>-5.3061397958606175E-3</c:v>
                </c:pt>
                <c:pt idx="2168">
                  <c:v>-5.3559241475211019E-3</c:v>
                </c:pt>
                <c:pt idx="2169">
                  <c:v>-5.3550089033454354E-3</c:v>
                </c:pt>
                <c:pt idx="2170">
                  <c:v>-5.4833007520289894E-3</c:v>
                </c:pt>
                <c:pt idx="2171">
                  <c:v>-5.5881613573217333E-3</c:v>
                </c:pt>
                <c:pt idx="2172">
                  <c:v>-5.5562511027980026E-3</c:v>
                </c:pt>
                <c:pt idx="2173">
                  <c:v>-5.7580654030953424E-3</c:v>
                </c:pt>
                <c:pt idx="2174">
                  <c:v>-5.6058895761100166E-3</c:v>
                </c:pt>
                <c:pt idx="2175">
                  <c:v>-5.6213451137821181E-3</c:v>
                </c:pt>
                <c:pt idx="2176">
                  <c:v>-5.6428203257082839E-3</c:v>
                </c:pt>
                <c:pt idx="2177">
                  <c:v>-5.663625994059323E-3</c:v>
                </c:pt>
                <c:pt idx="2178">
                  <c:v>-5.673763322499607E-3</c:v>
                </c:pt>
                <c:pt idx="2179">
                  <c:v>-5.5858722544070054E-3</c:v>
                </c:pt>
                <c:pt idx="2180">
                  <c:v>-5.6026085593418977E-3</c:v>
                </c:pt>
                <c:pt idx="2181">
                  <c:v>-5.4638176159506465E-3</c:v>
                </c:pt>
                <c:pt idx="2182">
                  <c:v>-5.5261930466086002E-3</c:v>
                </c:pt>
                <c:pt idx="2183">
                  <c:v>-5.5897863040502618E-3</c:v>
                </c:pt>
                <c:pt idx="2184">
                  <c:v>-5.2517924001470586E-3</c:v>
                </c:pt>
                <c:pt idx="2185">
                  <c:v>-5.5671766762866934E-3</c:v>
                </c:pt>
                <c:pt idx="2186">
                  <c:v>-5.3505818005419028E-3</c:v>
                </c:pt>
                <c:pt idx="2187">
                  <c:v>-4.6900705495591388E-3</c:v>
                </c:pt>
                <c:pt idx="2188">
                  <c:v>-4.7581480325900299E-3</c:v>
                </c:pt>
                <c:pt idx="2189">
                  <c:v>-4.8692198131638931E-3</c:v>
                </c:pt>
                <c:pt idx="2190">
                  <c:v>-4.6639448785682804E-3</c:v>
                </c:pt>
                <c:pt idx="2191">
                  <c:v>-4.599308097811736E-3</c:v>
                </c:pt>
                <c:pt idx="2192">
                  <c:v>-4.7839716419427313E-3</c:v>
                </c:pt>
                <c:pt idx="2193">
                  <c:v>-4.9104591374932293E-3</c:v>
                </c:pt>
                <c:pt idx="2194">
                  <c:v>-4.9820880342184432E-3</c:v>
                </c:pt>
                <c:pt idx="2195">
                  <c:v>-5.1179331713025553E-3</c:v>
                </c:pt>
                <c:pt idx="2196">
                  <c:v>-5.0679108629710697E-3</c:v>
                </c:pt>
                <c:pt idx="2197">
                  <c:v>-5.1042314935795946E-3</c:v>
                </c:pt>
                <c:pt idx="2198">
                  <c:v>-5.0817011757761169E-3</c:v>
                </c:pt>
                <c:pt idx="2199">
                  <c:v>-4.9311861151019876E-3</c:v>
                </c:pt>
                <c:pt idx="2200">
                  <c:v>-4.9204520264130545E-3</c:v>
                </c:pt>
                <c:pt idx="2201">
                  <c:v>-4.9495371753105893E-3</c:v>
                </c:pt>
                <c:pt idx="2202">
                  <c:v>-4.8464963320656845E-3</c:v>
                </c:pt>
                <c:pt idx="2203">
                  <c:v>-4.850217795079827E-3</c:v>
                </c:pt>
                <c:pt idx="2204">
                  <c:v>-4.946463280262766E-3</c:v>
                </c:pt>
                <c:pt idx="2205">
                  <c:v>-4.8088481071064289E-3</c:v>
                </c:pt>
                <c:pt idx="2206">
                  <c:v>-4.7894680605969926E-3</c:v>
                </c:pt>
                <c:pt idx="2207">
                  <c:v>-4.5851482856730536E-3</c:v>
                </c:pt>
                <c:pt idx="2208">
                  <c:v>-4.3045971984495279E-3</c:v>
                </c:pt>
                <c:pt idx="2209">
                  <c:v>-4.3924927444625745E-3</c:v>
                </c:pt>
                <c:pt idx="2210">
                  <c:v>-4.1628650821932175E-3</c:v>
                </c:pt>
                <c:pt idx="2211">
                  <c:v>-3.9231959584802682E-3</c:v>
                </c:pt>
                <c:pt idx="2212">
                  <c:v>-3.9609073576832542E-3</c:v>
                </c:pt>
                <c:pt idx="2213">
                  <c:v>-4.0478336186993563E-3</c:v>
                </c:pt>
                <c:pt idx="2214">
                  <c:v>-4.2499779509069732E-3</c:v>
                </c:pt>
                <c:pt idx="2215">
                  <c:v>-4.313423719360129E-3</c:v>
                </c:pt>
                <c:pt idx="2216">
                  <c:v>-4.8162535745065252E-3</c:v>
                </c:pt>
                <c:pt idx="2217">
                  <c:v>-5.0477167203084525E-3</c:v>
                </c:pt>
                <c:pt idx="2218">
                  <c:v>-4.9764309162863857E-3</c:v>
                </c:pt>
                <c:pt idx="2219">
                  <c:v>-4.7198456277288345E-3</c:v>
                </c:pt>
                <c:pt idx="2220">
                  <c:v>-5.0665288619152204E-3</c:v>
                </c:pt>
                <c:pt idx="2221">
                  <c:v>-5.8868130471591779E-3</c:v>
                </c:pt>
                <c:pt idx="2222">
                  <c:v>-6.1821022135857828E-3</c:v>
                </c:pt>
                <c:pt idx="2223">
                  <c:v>-6.1640321764491572E-3</c:v>
                </c:pt>
                <c:pt idx="2224">
                  <c:v>-6.2793885519435719E-3</c:v>
                </c:pt>
                <c:pt idx="2225">
                  <c:v>-5.3485625622290622E-3</c:v>
                </c:pt>
                <c:pt idx="2226">
                  <c:v>-4.8158759619344963E-3</c:v>
                </c:pt>
                <c:pt idx="2227">
                  <c:v>-3.1163794206446986E-3</c:v>
                </c:pt>
                <c:pt idx="2228">
                  <c:v>3.5758138894109916E-3</c:v>
                </c:pt>
                <c:pt idx="2229">
                  <c:v>3.510177247182885E-2</c:v>
                </c:pt>
                <c:pt idx="2230">
                  <c:v>7.785459963611599E-2</c:v>
                </c:pt>
                <c:pt idx="2231">
                  <c:v>0.10112092541629701</c:v>
                </c:pt>
                <c:pt idx="2232">
                  <c:v>0.11782084009002917</c:v>
                </c:pt>
                <c:pt idx="2233">
                  <c:v>0.13139026461937606</c:v>
                </c:pt>
                <c:pt idx="2234">
                  <c:v>0.14187806590510896</c:v>
                </c:pt>
                <c:pt idx="2235">
                  <c:v>0.14885883313594431</c:v>
                </c:pt>
                <c:pt idx="2236">
                  <c:v>0.1552374977400047</c:v>
                </c:pt>
                <c:pt idx="2237">
                  <c:v>0.16005810827189129</c:v>
                </c:pt>
                <c:pt idx="2238">
                  <c:v>0.16397638288423191</c:v>
                </c:pt>
                <c:pt idx="2239">
                  <c:v>0.16703062446725381</c:v>
                </c:pt>
                <c:pt idx="2240">
                  <c:v>0.16951599205942849</c:v>
                </c:pt>
                <c:pt idx="2241">
                  <c:v>0.1703240975333267</c:v>
                </c:pt>
                <c:pt idx="2242">
                  <c:v>0.17069681687233279</c:v>
                </c:pt>
                <c:pt idx="2243">
                  <c:v>0.16964549788084157</c:v>
                </c:pt>
                <c:pt idx="2244">
                  <c:v>0.16820335884311191</c:v>
                </c:pt>
                <c:pt idx="2245">
                  <c:v>0.16550242611961033</c:v>
                </c:pt>
                <c:pt idx="2246">
                  <c:v>0.16190754752252481</c:v>
                </c:pt>
                <c:pt idx="2247">
                  <c:v>0.15779363961986853</c:v>
                </c:pt>
                <c:pt idx="2248">
                  <c:v>0.15213494478012085</c:v>
                </c:pt>
                <c:pt idx="2249">
                  <c:v>0.14586113077116933</c:v>
                </c:pt>
                <c:pt idx="2250">
                  <c:v>0.138051486776233</c:v>
                </c:pt>
                <c:pt idx="2251">
                  <c:v>0.12876206096881024</c:v>
                </c:pt>
                <c:pt idx="2252">
                  <c:v>0.11899708747489303</c:v>
                </c:pt>
                <c:pt idx="2253">
                  <c:v>0.10665997108184851</c:v>
                </c:pt>
                <c:pt idx="2254">
                  <c:v>9.246747400685304E-2</c:v>
                </c:pt>
                <c:pt idx="2255">
                  <c:v>7.6767796572629401E-2</c:v>
                </c:pt>
                <c:pt idx="2256">
                  <c:v>5.6304680606151569E-2</c:v>
                </c:pt>
                <c:pt idx="2257">
                  <c:v>3.0299792019846283E-2</c:v>
                </c:pt>
                <c:pt idx="2258">
                  <c:v>-6.9082336664035467E-3</c:v>
                </c:pt>
                <c:pt idx="2259">
                  <c:v>-3.0482622192863629E-2</c:v>
                </c:pt>
                <c:pt idx="2260">
                  <c:v>-3.1383264681797536E-2</c:v>
                </c:pt>
                <c:pt idx="2261">
                  <c:v>-3.2442616130519207E-2</c:v>
                </c:pt>
                <c:pt idx="2262">
                  <c:v>-3.1505120638044032E-2</c:v>
                </c:pt>
                <c:pt idx="2263">
                  <c:v>-3.0621266162931857E-2</c:v>
                </c:pt>
                <c:pt idx="2264">
                  <c:v>-2.8104438061811697E-2</c:v>
                </c:pt>
                <c:pt idx="2265">
                  <c:v>-2.6001371787878771E-2</c:v>
                </c:pt>
                <c:pt idx="2266">
                  <c:v>-2.3613862448394904E-2</c:v>
                </c:pt>
                <c:pt idx="2267">
                  <c:v>-2.1103803820972166E-2</c:v>
                </c:pt>
                <c:pt idx="2268">
                  <c:v>-1.884562607313691E-2</c:v>
                </c:pt>
                <c:pt idx="2269">
                  <c:v>-1.7284980551874392E-2</c:v>
                </c:pt>
                <c:pt idx="2270">
                  <c:v>-1.6213653201587623E-2</c:v>
                </c:pt>
                <c:pt idx="2271">
                  <c:v>-1.5455714249208823E-2</c:v>
                </c:pt>
                <c:pt idx="2272">
                  <c:v>-1.4861158780215714E-2</c:v>
                </c:pt>
                <c:pt idx="2273">
                  <c:v>-1.4123875597312412E-2</c:v>
                </c:pt>
                <c:pt idx="2274">
                  <c:v>-1.3419121182026258E-2</c:v>
                </c:pt>
                <c:pt idx="2275">
                  <c:v>-1.2760713469025357E-2</c:v>
                </c:pt>
                <c:pt idx="2276">
                  <c:v>-1.2257458535833859E-2</c:v>
                </c:pt>
                <c:pt idx="2277">
                  <c:v>-1.1765312545142747E-2</c:v>
                </c:pt>
                <c:pt idx="2278">
                  <c:v>-1.1395964723834102E-2</c:v>
                </c:pt>
                <c:pt idx="2279">
                  <c:v>-1.0755385241443996E-2</c:v>
                </c:pt>
                <c:pt idx="2280">
                  <c:v>-1.0331837918003746E-2</c:v>
                </c:pt>
                <c:pt idx="2281">
                  <c:v>-9.9450787941179897E-3</c:v>
                </c:pt>
                <c:pt idx="2282">
                  <c:v>-9.7182174888992418E-3</c:v>
                </c:pt>
                <c:pt idx="2283">
                  <c:v>-9.5687854616775085E-3</c:v>
                </c:pt>
                <c:pt idx="2284">
                  <c:v>-9.2687896600994156E-3</c:v>
                </c:pt>
                <c:pt idx="2285">
                  <c:v>-7.5328671538882376E-3</c:v>
                </c:pt>
                <c:pt idx="2286">
                  <c:v>-4.9024183277208717E-3</c:v>
                </c:pt>
                <c:pt idx="2287">
                  <c:v>-2.438416023919766E-3</c:v>
                </c:pt>
                <c:pt idx="2288">
                  <c:v>1.2956661610324475E-2</c:v>
                </c:pt>
                <c:pt idx="2289">
                  <c:v>2.8988186108616129E-2</c:v>
                </c:pt>
                <c:pt idx="2290">
                  <c:v>3.9121202472789614E-2</c:v>
                </c:pt>
                <c:pt idx="2291">
                  <c:v>4.5267595591902139E-2</c:v>
                </c:pt>
                <c:pt idx="2292">
                  <c:v>5.0043536809463995E-2</c:v>
                </c:pt>
                <c:pt idx="2293">
                  <c:v>5.3487670601167131E-2</c:v>
                </c:pt>
                <c:pt idx="2294">
                  <c:v>5.867782554627092E-2</c:v>
                </c:pt>
                <c:pt idx="2295">
                  <c:v>6.1312041811989987E-2</c:v>
                </c:pt>
                <c:pt idx="2296">
                  <c:v>6.3889557232806746E-2</c:v>
                </c:pt>
                <c:pt idx="2297">
                  <c:v>6.6237656966314715E-2</c:v>
                </c:pt>
                <c:pt idx="2298">
                  <c:v>6.7331750885675348E-2</c:v>
                </c:pt>
                <c:pt idx="2299">
                  <c:v>6.7643109909868285E-2</c:v>
                </c:pt>
                <c:pt idx="2300">
                  <c:v>6.8021636533525581E-2</c:v>
                </c:pt>
                <c:pt idx="2301">
                  <c:v>6.7381556233955767E-2</c:v>
                </c:pt>
                <c:pt idx="2302">
                  <c:v>6.7893143329499181E-2</c:v>
                </c:pt>
                <c:pt idx="2303">
                  <c:v>6.6597458463466083E-2</c:v>
                </c:pt>
                <c:pt idx="2304">
                  <c:v>6.5428330765428658E-2</c:v>
                </c:pt>
                <c:pt idx="2305">
                  <c:v>6.3922806366481469E-2</c:v>
                </c:pt>
                <c:pt idx="2306">
                  <c:v>6.2379135641077693E-2</c:v>
                </c:pt>
                <c:pt idx="2307">
                  <c:v>6.2917647130055293E-2</c:v>
                </c:pt>
                <c:pt idx="2308">
                  <c:v>6.848184104903951E-2</c:v>
                </c:pt>
                <c:pt idx="2309">
                  <c:v>7.291504475188916E-2</c:v>
                </c:pt>
                <c:pt idx="2310">
                  <c:v>7.5965890191915769E-2</c:v>
                </c:pt>
                <c:pt idx="2311">
                  <c:v>7.6472455412067986E-2</c:v>
                </c:pt>
                <c:pt idx="2312">
                  <c:v>7.6157592490690929E-2</c:v>
                </c:pt>
                <c:pt idx="2313">
                  <c:v>7.6575173272349806E-2</c:v>
                </c:pt>
                <c:pt idx="2314">
                  <c:v>7.6526377414745897E-2</c:v>
                </c:pt>
                <c:pt idx="2315">
                  <c:v>7.6589917091711354E-2</c:v>
                </c:pt>
                <c:pt idx="2316">
                  <c:v>7.6908698700758338E-2</c:v>
                </c:pt>
                <c:pt idx="2317">
                  <c:v>7.7429032928331712E-2</c:v>
                </c:pt>
                <c:pt idx="2318">
                  <c:v>7.8412930948095053E-2</c:v>
                </c:pt>
                <c:pt idx="2319">
                  <c:v>7.7263978202075798E-2</c:v>
                </c:pt>
                <c:pt idx="2320">
                  <c:v>7.5891832387933608E-2</c:v>
                </c:pt>
                <c:pt idx="2321">
                  <c:v>7.4854031851267641E-2</c:v>
                </c:pt>
                <c:pt idx="2322">
                  <c:v>7.353162293315943E-2</c:v>
                </c:pt>
                <c:pt idx="2323">
                  <c:v>7.2242951135096878E-2</c:v>
                </c:pt>
                <c:pt idx="2324">
                  <c:v>6.8735597001742657E-2</c:v>
                </c:pt>
                <c:pt idx="2325">
                  <c:v>6.6358068545289153E-2</c:v>
                </c:pt>
                <c:pt idx="2326">
                  <c:v>6.2658426375389834E-2</c:v>
                </c:pt>
                <c:pt idx="2327">
                  <c:v>5.7469098274059938E-2</c:v>
                </c:pt>
                <c:pt idx="2328">
                  <c:v>5.3913398078255112E-2</c:v>
                </c:pt>
                <c:pt idx="2329">
                  <c:v>4.8969240279124047E-2</c:v>
                </c:pt>
                <c:pt idx="2330">
                  <c:v>4.4232584209815407E-2</c:v>
                </c:pt>
                <c:pt idx="2331">
                  <c:v>3.8411151724510165E-2</c:v>
                </c:pt>
                <c:pt idx="2332">
                  <c:v>3.2597237428346852E-2</c:v>
                </c:pt>
                <c:pt idx="2333">
                  <c:v>2.604202784361298E-2</c:v>
                </c:pt>
                <c:pt idx="2334">
                  <c:v>1.8593131504932088E-2</c:v>
                </c:pt>
                <c:pt idx="2335">
                  <c:v>9.6608123129900917E-3</c:v>
                </c:pt>
                <c:pt idx="2336">
                  <c:v>-6.225056210331743E-3</c:v>
                </c:pt>
                <c:pt idx="2337">
                  <c:v>-1.9772674655468662E-2</c:v>
                </c:pt>
                <c:pt idx="2338">
                  <c:v>-1.9588446595921828E-2</c:v>
                </c:pt>
                <c:pt idx="2339">
                  <c:v>-1.9327796684155581E-2</c:v>
                </c:pt>
                <c:pt idx="2340">
                  <c:v>-1.9380911767163712E-2</c:v>
                </c:pt>
                <c:pt idx="2341">
                  <c:v>-1.9874149606682469E-2</c:v>
                </c:pt>
                <c:pt idx="2342">
                  <c:v>-2.0378523923025322E-2</c:v>
                </c:pt>
                <c:pt idx="2343">
                  <c:v>-2.1092583481266455E-2</c:v>
                </c:pt>
                <c:pt idx="2344">
                  <c:v>-2.1473442804536051E-2</c:v>
                </c:pt>
                <c:pt idx="2345">
                  <c:v>-2.1713035844622801E-2</c:v>
                </c:pt>
                <c:pt idx="2346">
                  <c:v>-2.098918488465543E-2</c:v>
                </c:pt>
                <c:pt idx="2347">
                  <c:v>-2.0060164124365874E-2</c:v>
                </c:pt>
                <c:pt idx="2348">
                  <c:v>-1.8915368685435571E-2</c:v>
                </c:pt>
                <c:pt idx="2349">
                  <c:v>-1.7665085507475461E-2</c:v>
                </c:pt>
                <c:pt idx="2350">
                  <c:v>-1.6847081075130901E-2</c:v>
                </c:pt>
                <c:pt idx="2351">
                  <c:v>-1.6244532439984541E-2</c:v>
                </c:pt>
                <c:pt idx="2352">
                  <c:v>-1.6048493853226164E-2</c:v>
                </c:pt>
                <c:pt idx="2353">
                  <c:v>-1.6086576229974992E-2</c:v>
                </c:pt>
                <c:pt idx="2354">
                  <c:v>-1.6107707878815818E-2</c:v>
                </c:pt>
                <c:pt idx="2355">
                  <c:v>-1.6345303808301528E-2</c:v>
                </c:pt>
                <c:pt idx="2356">
                  <c:v>-1.6685332573500584E-2</c:v>
                </c:pt>
                <c:pt idx="2357">
                  <c:v>-1.6887866428463291E-2</c:v>
                </c:pt>
                <c:pt idx="2358">
                  <c:v>-1.6886196118382334E-2</c:v>
                </c:pt>
                <c:pt idx="2359">
                  <c:v>-1.6757570293990918E-2</c:v>
                </c:pt>
                <c:pt idx="2360">
                  <c:v>-1.6530195412997419E-2</c:v>
                </c:pt>
                <c:pt idx="2361">
                  <c:v>-1.6238792477809284E-2</c:v>
                </c:pt>
                <c:pt idx="2362">
                  <c:v>-1.6429326042583479E-2</c:v>
                </c:pt>
                <c:pt idx="2363">
                  <c:v>-1.7020898872405085E-2</c:v>
                </c:pt>
                <c:pt idx="2364">
                  <c:v>-1.7955741552714809E-2</c:v>
                </c:pt>
                <c:pt idx="2365">
                  <c:v>-1.8679319626220478E-2</c:v>
                </c:pt>
                <c:pt idx="2366">
                  <c:v>-1.9250287476185603E-2</c:v>
                </c:pt>
                <c:pt idx="2367">
                  <c:v>-1.9785470839727298E-2</c:v>
                </c:pt>
                <c:pt idx="2368">
                  <c:v>-2.016171462935205E-2</c:v>
                </c:pt>
                <c:pt idx="2369">
                  <c:v>-2.0494202566951846E-2</c:v>
                </c:pt>
                <c:pt idx="2370">
                  <c:v>-2.0730206393624287E-2</c:v>
                </c:pt>
                <c:pt idx="2371">
                  <c:v>-2.0961169031367327E-2</c:v>
                </c:pt>
                <c:pt idx="2372">
                  <c:v>-2.1229747217188084E-2</c:v>
                </c:pt>
                <c:pt idx="2373">
                  <c:v>-2.1502275591826166E-2</c:v>
                </c:pt>
                <c:pt idx="2374">
                  <c:v>-2.1576977386109406E-2</c:v>
                </c:pt>
                <c:pt idx="2375">
                  <c:v>-2.161062994162815E-2</c:v>
                </c:pt>
                <c:pt idx="2376">
                  <c:v>-2.1598416640727699E-2</c:v>
                </c:pt>
                <c:pt idx="2377">
                  <c:v>-2.1630503313443093E-2</c:v>
                </c:pt>
                <c:pt idx="2378">
                  <c:v>-2.1602307255995035E-2</c:v>
                </c:pt>
                <c:pt idx="2379">
                  <c:v>-2.1489683475609769E-2</c:v>
                </c:pt>
                <c:pt idx="2380">
                  <c:v>-2.1213897486642493E-2</c:v>
                </c:pt>
                <c:pt idx="2381">
                  <c:v>-2.0845958519297041E-2</c:v>
                </c:pt>
                <c:pt idx="2382">
                  <c:v>-2.0400122720482784E-2</c:v>
                </c:pt>
                <c:pt idx="2383">
                  <c:v>-2.0152744475766978E-2</c:v>
                </c:pt>
                <c:pt idx="2384">
                  <c:v>-1.9914505788415894E-2</c:v>
                </c:pt>
                <c:pt idx="2385">
                  <c:v>-1.9307938448842391E-2</c:v>
                </c:pt>
                <c:pt idx="2386">
                  <c:v>-1.8454613007133251E-2</c:v>
                </c:pt>
                <c:pt idx="2387">
                  <c:v>-1.7587638763864408E-2</c:v>
                </c:pt>
                <c:pt idx="2388">
                  <c:v>-1.6692258810230096E-2</c:v>
                </c:pt>
                <c:pt idx="2389">
                  <c:v>-1.547544622937224E-2</c:v>
                </c:pt>
                <c:pt idx="2390">
                  <c:v>-1.4738650309229141E-2</c:v>
                </c:pt>
                <c:pt idx="2391">
                  <c:v>-1.4104678576653696E-2</c:v>
                </c:pt>
                <c:pt idx="2392">
                  <c:v>-1.3848065826199638E-2</c:v>
                </c:pt>
                <c:pt idx="2393">
                  <c:v>-1.3831366206706785E-2</c:v>
                </c:pt>
                <c:pt idx="2394">
                  <c:v>-1.3885005292874899E-2</c:v>
                </c:pt>
                <c:pt idx="2395">
                  <c:v>-1.391832492628234E-2</c:v>
                </c:pt>
                <c:pt idx="2396">
                  <c:v>-1.3939134567849367E-2</c:v>
                </c:pt>
                <c:pt idx="2397">
                  <c:v>-1.3983786760551656E-2</c:v>
                </c:pt>
                <c:pt idx="2398">
                  <c:v>-1.4015279397906619E-2</c:v>
                </c:pt>
                <c:pt idx="2399">
                  <c:v>-1.3925335564306609E-2</c:v>
                </c:pt>
                <c:pt idx="2400">
                  <c:v>-1.3836787332390951E-2</c:v>
                </c:pt>
                <c:pt idx="2401">
                  <c:v>-1.3731844610136053E-2</c:v>
                </c:pt>
                <c:pt idx="2402">
                  <c:v>-1.3388760457493105E-2</c:v>
                </c:pt>
                <c:pt idx="2403">
                  <c:v>-1.3189326128999489E-2</c:v>
                </c:pt>
                <c:pt idx="2404">
                  <c:v>-1.2914067344883498E-2</c:v>
                </c:pt>
                <c:pt idx="2405">
                  <c:v>-1.2711319114895595E-2</c:v>
                </c:pt>
                <c:pt idx="2406">
                  <c:v>-1.2509462233830173E-2</c:v>
                </c:pt>
                <c:pt idx="2407">
                  <c:v>-1.2326693547813345E-2</c:v>
                </c:pt>
                <c:pt idx="2408">
                  <c:v>-1.2126667753282912E-2</c:v>
                </c:pt>
                <c:pt idx="2409">
                  <c:v>-1.1940722856711052E-2</c:v>
                </c:pt>
                <c:pt idx="2410">
                  <c:v>-1.1810077860204169E-2</c:v>
                </c:pt>
                <c:pt idx="2411">
                  <c:v>-1.1666150960598778E-2</c:v>
                </c:pt>
                <c:pt idx="2412">
                  <c:v>-1.1469338069545866E-2</c:v>
                </c:pt>
                <c:pt idx="2413">
                  <c:v>-1.1108200759563147E-2</c:v>
                </c:pt>
                <c:pt idx="2414">
                  <c:v>-1.0737259332798461E-2</c:v>
                </c:pt>
                <c:pt idx="2415">
                  <c:v>-1.0557519464964237E-2</c:v>
                </c:pt>
                <c:pt idx="2416">
                  <c:v>-1.0564790128508635E-2</c:v>
                </c:pt>
                <c:pt idx="2417">
                  <c:v>-1.0654085456863624E-2</c:v>
                </c:pt>
                <c:pt idx="2418">
                  <c:v>-1.0670090960731619E-2</c:v>
                </c:pt>
                <c:pt idx="2419">
                  <c:v>-1.0567327038129268E-2</c:v>
                </c:pt>
                <c:pt idx="2420">
                  <c:v>-1.057457597644971E-2</c:v>
                </c:pt>
                <c:pt idx="2421">
                  <c:v>-1.0672074393651433E-2</c:v>
                </c:pt>
                <c:pt idx="2422">
                  <c:v>-1.0781042887050396E-2</c:v>
                </c:pt>
                <c:pt idx="2423">
                  <c:v>-1.1843930333505181E-2</c:v>
                </c:pt>
                <c:pt idx="2424">
                  <c:v>-1.2922786488065406E-2</c:v>
                </c:pt>
                <c:pt idx="2425">
                  <c:v>-1.3770075682587396E-2</c:v>
                </c:pt>
                <c:pt idx="2426">
                  <c:v>-1.4364782308119169E-2</c:v>
                </c:pt>
                <c:pt idx="2427">
                  <c:v>-1.5093847239789765E-2</c:v>
                </c:pt>
                <c:pt idx="2428">
                  <c:v>-1.571630523481652E-2</c:v>
                </c:pt>
                <c:pt idx="2429">
                  <c:v>-1.614155818516716E-2</c:v>
                </c:pt>
                <c:pt idx="2430">
                  <c:v>-1.6239831124407626E-2</c:v>
                </c:pt>
                <c:pt idx="2431">
                  <c:v>-1.6280187148752449E-2</c:v>
                </c:pt>
                <c:pt idx="2432">
                  <c:v>-1.6227229270092125E-2</c:v>
                </c:pt>
                <c:pt idx="2433">
                  <c:v>-1.6127512425876608E-2</c:v>
                </c:pt>
                <c:pt idx="2434">
                  <c:v>-1.605074490516472E-2</c:v>
                </c:pt>
                <c:pt idx="2435">
                  <c:v>-1.5994888625067399E-2</c:v>
                </c:pt>
                <c:pt idx="2436">
                  <c:v>-1.5773325202011752E-2</c:v>
                </c:pt>
                <c:pt idx="2437">
                  <c:v>-1.544257527348979E-2</c:v>
                </c:pt>
                <c:pt idx="2438">
                  <c:v>-1.5331497144127097E-2</c:v>
                </c:pt>
                <c:pt idx="2439">
                  <c:v>-1.5324539849695978E-2</c:v>
                </c:pt>
                <c:pt idx="2440">
                  <c:v>-1.5189954795981647E-2</c:v>
                </c:pt>
                <c:pt idx="2441">
                  <c:v>-1.4996296276167746E-2</c:v>
                </c:pt>
                <c:pt idx="2442">
                  <c:v>-1.480183863406768E-2</c:v>
                </c:pt>
                <c:pt idx="2443">
                  <c:v>-1.4627076231682606E-2</c:v>
                </c:pt>
                <c:pt idx="2444">
                  <c:v>-1.5012086742309999E-2</c:v>
                </c:pt>
                <c:pt idx="2445">
                  <c:v>-1.5346104885276074E-2</c:v>
                </c:pt>
                <c:pt idx="2446">
                  <c:v>-1.5366920279823872E-2</c:v>
                </c:pt>
                <c:pt idx="2447">
                  <c:v>-1.5162544128119128E-2</c:v>
                </c:pt>
                <c:pt idx="2448">
                  <c:v>-1.5008914123969586E-2</c:v>
                </c:pt>
                <c:pt idx="2449">
                  <c:v>-1.4863944348845444E-2</c:v>
                </c:pt>
                <c:pt idx="2450">
                  <c:v>-1.4716533133031336E-2</c:v>
                </c:pt>
                <c:pt idx="2451">
                  <c:v>-1.4653729466846992E-2</c:v>
                </c:pt>
                <c:pt idx="2452">
                  <c:v>-1.4696190780003306E-2</c:v>
                </c:pt>
                <c:pt idx="2453">
                  <c:v>-1.488788882094212E-2</c:v>
                </c:pt>
                <c:pt idx="2454">
                  <c:v>-1.5006830670362608E-2</c:v>
                </c:pt>
                <c:pt idx="2455">
                  <c:v>-1.5026293183769499E-2</c:v>
                </c:pt>
                <c:pt idx="2456">
                  <c:v>-1.4594212768916873E-2</c:v>
                </c:pt>
                <c:pt idx="2457">
                  <c:v>-1.4191917924951888E-2</c:v>
                </c:pt>
                <c:pt idx="2458">
                  <c:v>-1.3842143531414129E-2</c:v>
                </c:pt>
                <c:pt idx="2459">
                  <c:v>-1.3703375944621577E-2</c:v>
                </c:pt>
                <c:pt idx="2460">
                  <c:v>-1.3856623721781829E-2</c:v>
                </c:pt>
                <c:pt idx="2461">
                  <c:v>-1.426156887563991E-2</c:v>
                </c:pt>
                <c:pt idx="2462">
                  <c:v>-1.4509818832599823E-2</c:v>
                </c:pt>
                <c:pt idx="2463">
                  <c:v>-1.4559701870178476E-2</c:v>
                </c:pt>
                <c:pt idx="2464">
                  <c:v>-1.4521882866509985E-2</c:v>
                </c:pt>
                <c:pt idx="2465">
                  <c:v>-1.4411425315957151E-2</c:v>
                </c:pt>
                <c:pt idx="2466">
                  <c:v>-1.4339605292642424E-2</c:v>
                </c:pt>
                <c:pt idx="2467">
                  <c:v>-1.432142078981192E-2</c:v>
                </c:pt>
                <c:pt idx="2468">
                  <c:v>-1.4756584148181266E-2</c:v>
                </c:pt>
                <c:pt idx="2469">
                  <c:v>-1.5183919347127681E-2</c:v>
                </c:pt>
                <c:pt idx="2470">
                  <c:v>-1.5681801277479535E-2</c:v>
                </c:pt>
                <c:pt idx="2471">
                  <c:v>-1.5876178944810422E-2</c:v>
                </c:pt>
                <c:pt idx="2472">
                  <c:v>-1.5916780057459022E-2</c:v>
                </c:pt>
                <c:pt idx="2473">
                  <c:v>-1.6219709877991043E-2</c:v>
                </c:pt>
                <c:pt idx="2474">
                  <c:v>-1.6645087993171277E-2</c:v>
                </c:pt>
                <c:pt idx="2475">
                  <c:v>-1.7299381427152927E-2</c:v>
                </c:pt>
                <c:pt idx="2476">
                  <c:v>-1.8243007665484742E-2</c:v>
                </c:pt>
                <c:pt idx="2477">
                  <c:v>-1.9232269213290937E-2</c:v>
                </c:pt>
                <c:pt idx="2478">
                  <c:v>-1.9916267238842496E-2</c:v>
                </c:pt>
                <c:pt idx="2479">
                  <c:v>-2.0409906192769681E-2</c:v>
                </c:pt>
                <c:pt idx="2480">
                  <c:v>-2.0539703836093434E-2</c:v>
                </c:pt>
                <c:pt idx="2481">
                  <c:v>-2.0679244054728648E-2</c:v>
                </c:pt>
                <c:pt idx="2482">
                  <c:v>-2.0859543284615013E-2</c:v>
                </c:pt>
                <c:pt idx="2483">
                  <c:v>-2.1067789482890155E-2</c:v>
                </c:pt>
                <c:pt idx="2484">
                  <c:v>-2.1181038924813982E-2</c:v>
                </c:pt>
                <c:pt idx="2485">
                  <c:v>-2.0530387812626727E-2</c:v>
                </c:pt>
                <c:pt idx="2486">
                  <c:v>-2.0186328988176117E-2</c:v>
                </c:pt>
                <c:pt idx="2487">
                  <c:v>-1.9819962441536498E-2</c:v>
                </c:pt>
                <c:pt idx="2488">
                  <c:v>-1.9750683067971814E-2</c:v>
                </c:pt>
                <c:pt idx="2489">
                  <c:v>-1.9759465738767246E-2</c:v>
                </c:pt>
                <c:pt idx="2490">
                  <c:v>-1.9786253210773826E-2</c:v>
                </c:pt>
                <c:pt idx="2491">
                  <c:v>-1.9762050281718402E-2</c:v>
                </c:pt>
                <c:pt idx="2492">
                  <c:v>-1.970792068294825E-2</c:v>
                </c:pt>
                <c:pt idx="2493">
                  <c:v>-1.9485699017361083E-2</c:v>
                </c:pt>
                <c:pt idx="2494">
                  <c:v>-1.8910052332716601E-2</c:v>
                </c:pt>
                <c:pt idx="2495">
                  <c:v>-1.8413003492445287E-2</c:v>
                </c:pt>
                <c:pt idx="2496">
                  <c:v>-1.8190907075534529E-2</c:v>
                </c:pt>
                <c:pt idx="2497">
                  <c:v>-1.8111362468148845E-2</c:v>
                </c:pt>
                <c:pt idx="2498">
                  <c:v>-1.8631323235538403E-2</c:v>
                </c:pt>
                <c:pt idx="2499">
                  <c:v>-1.9509892572462068E-2</c:v>
                </c:pt>
                <c:pt idx="2500">
                  <c:v>-2.0237889599083941E-2</c:v>
                </c:pt>
                <c:pt idx="2501">
                  <c:v>-2.0828856784945407E-2</c:v>
                </c:pt>
                <c:pt idx="2502">
                  <c:v>-2.0707249793379484E-2</c:v>
                </c:pt>
                <c:pt idx="2503">
                  <c:v>-2.108526913774577E-2</c:v>
                </c:pt>
                <c:pt idx="2504">
                  <c:v>-2.1329118263726583E-2</c:v>
                </c:pt>
                <c:pt idx="2505">
                  <c:v>-2.1321899806989314E-2</c:v>
                </c:pt>
                <c:pt idx="2506">
                  <c:v>-2.0976484333525454E-2</c:v>
                </c:pt>
                <c:pt idx="2507">
                  <c:v>-2.0266459014922491E-2</c:v>
                </c:pt>
                <c:pt idx="2508">
                  <c:v>-1.9372304810037363E-2</c:v>
                </c:pt>
                <c:pt idx="2509">
                  <c:v>-1.8381268896512516E-2</c:v>
                </c:pt>
                <c:pt idx="2510">
                  <c:v>-1.7931052960997652E-2</c:v>
                </c:pt>
                <c:pt idx="2511">
                  <c:v>-1.7657293873938131E-2</c:v>
                </c:pt>
                <c:pt idx="2512">
                  <c:v>-1.7436458435723695E-2</c:v>
                </c:pt>
                <c:pt idx="2513">
                  <c:v>-1.7503680380719665E-2</c:v>
                </c:pt>
                <c:pt idx="2514">
                  <c:v>-1.7584410822421168E-2</c:v>
                </c:pt>
                <c:pt idx="2515">
                  <c:v>-1.7757430833046126E-2</c:v>
                </c:pt>
                <c:pt idx="2516">
                  <c:v>-1.7852830100821327E-2</c:v>
                </c:pt>
                <c:pt idx="2517">
                  <c:v>-1.8013636695923228E-2</c:v>
                </c:pt>
                <c:pt idx="2518">
                  <c:v>-1.8264317454588369E-2</c:v>
                </c:pt>
                <c:pt idx="2519">
                  <c:v>-1.8494665223351425E-2</c:v>
                </c:pt>
                <c:pt idx="2520">
                  <c:v>-1.8562525801148987E-2</c:v>
                </c:pt>
                <c:pt idx="2521">
                  <c:v>-1.8515763807005474E-2</c:v>
                </c:pt>
                <c:pt idx="2522">
                  <c:v>-1.8070255534007835E-2</c:v>
                </c:pt>
                <c:pt idx="2523">
                  <c:v>-1.7696125559436733E-2</c:v>
                </c:pt>
                <c:pt idx="2524">
                  <c:v>-1.7623906597278964E-2</c:v>
                </c:pt>
                <c:pt idx="2525">
                  <c:v>-1.7569430289113952E-2</c:v>
                </c:pt>
                <c:pt idx="2526">
                  <c:v>-1.7617908949800882E-2</c:v>
                </c:pt>
                <c:pt idx="2527">
                  <c:v>-1.8057143475565109E-2</c:v>
                </c:pt>
                <c:pt idx="2528">
                  <c:v>-1.8426047080905856E-2</c:v>
                </c:pt>
                <c:pt idx="2529">
                  <c:v>-1.818225478940123E-2</c:v>
                </c:pt>
                <c:pt idx="2530">
                  <c:v>-1.7870314207135418E-2</c:v>
                </c:pt>
                <c:pt idx="2531">
                  <c:v>-1.7607937327946351E-2</c:v>
                </c:pt>
                <c:pt idx="2532">
                  <c:v>-1.7720004762973141E-2</c:v>
                </c:pt>
                <c:pt idx="2533">
                  <c:v>-1.7756390654367127E-2</c:v>
                </c:pt>
                <c:pt idx="2534">
                  <c:v>-1.7716285275525913E-2</c:v>
                </c:pt>
                <c:pt idx="2535">
                  <c:v>-1.7670439710987577E-2</c:v>
                </c:pt>
                <c:pt idx="2536">
                  <c:v>-1.7874124860315862E-2</c:v>
                </c:pt>
                <c:pt idx="2537">
                  <c:v>-1.8038413746713805E-2</c:v>
                </c:pt>
                <c:pt idx="2538">
                  <c:v>-1.8129907262781946E-2</c:v>
                </c:pt>
                <c:pt idx="2539">
                  <c:v>-1.820269296778269E-2</c:v>
                </c:pt>
                <c:pt idx="2540">
                  <c:v>-1.8140732363339782E-2</c:v>
                </c:pt>
                <c:pt idx="2541">
                  <c:v>-1.8081047621841134E-2</c:v>
                </c:pt>
                <c:pt idx="2542">
                  <c:v>-1.7952609170501073E-2</c:v>
                </c:pt>
                <c:pt idx="2543">
                  <c:v>-1.7705454444350753E-2</c:v>
                </c:pt>
                <c:pt idx="2544">
                  <c:v>-1.7164122189401408E-2</c:v>
                </c:pt>
                <c:pt idx="2545">
                  <c:v>-1.6360635376649606E-2</c:v>
                </c:pt>
                <c:pt idx="2546">
                  <c:v>-1.6093006399140474E-2</c:v>
                </c:pt>
                <c:pt idx="2547">
                  <c:v>-1.5677219059644917E-2</c:v>
                </c:pt>
                <c:pt idx="2548">
                  <c:v>-1.4913109888903341E-2</c:v>
                </c:pt>
                <c:pt idx="2549">
                  <c:v>-1.4041420593713546E-2</c:v>
                </c:pt>
                <c:pt idx="2550">
                  <c:v>-1.3260914424039452E-2</c:v>
                </c:pt>
                <c:pt idx="2551">
                  <c:v>-1.2518757496814175E-2</c:v>
                </c:pt>
                <c:pt idx="2552">
                  <c:v>-1.2422477923802248E-2</c:v>
                </c:pt>
                <c:pt idx="2553">
                  <c:v>-1.2486164161108666E-2</c:v>
                </c:pt>
                <c:pt idx="2554">
                  <c:v>-1.2432180888396257E-2</c:v>
                </c:pt>
                <c:pt idx="2555">
                  <c:v>-1.1602613788686917E-2</c:v>
                </c:pt>
                <c:pt idx="2556">
                  <c:v>-1.1600367301171022E-2</c:v>
                </c:pt>
                <c:pt idx="2557">
                  <c:v>-1.1637823484705909E-2</c:v>
                </c:pt>
                <c:pt idx="2558">
                  <c:v>-1.1444520566260309E-2</c:v>
                </c:pt>
                <c:pt idx="2559">
                  <c:v>-1.1469718694501162E-2</c:v>
                </c:pt>
                <c:pt idx="2560">
                  <c:v>-1.1597793858466314E-2</c:v>
                </c:pt>
                <c:pt idx="2561">
                  <c:v>-1.1755080453037327E-2</c:v>
                </c:pt>
                <c:pt idx="2562">
                  <c:v>-1.1962878556771292E-2</c:v>
                </c:pt>
                <c:pt idx="2563">
                  <c:v>-1.1945518751645182E-2</c:v>
                </c:pt>
                <c:pt idx="2564">
                  <c:v>-1.1938913026313617E-2</c:v>
                </c:pt>
                <c:pt idx="2565">
                  <c:v>-1.1990586671189778E-2</c:v>
                </c:pt>
                <c:pt idx="2566">
                  <c:v>-1.1951991135669556E-2</c:v>
                </c:pt>
                <c:pt idx="2567">
                  <c:v>-1.1904811469268917E-2</c:v>
                </c:pt>
                <c:pt idx="2568">
                  <c:v>-1.1974865287234892E-2</c:v>
                </c:pt>
                <c:pt idx="2569">
                  <c:v>-1.2002021540892022E-2</c:v>
                </c:pt>
                <c:pt idx="2570">
                  <c:v>-1.2026749361971859E-2</c:v>
                </c:pt>
                <c:pt idx="2571">
                  <c:v>-1.2067571637714434E-2</c:v>
                </c:pt>
                <c:pt idx="2572">
                  <c:v>-1.2263415597253718E-2</c:v>
                </c:pt>
                <c:pt idx="2573">
                  <c:v>-1.2279946071644086E-2</c:v>
                </c:pt>
                <c:pt idx="2574">
                  <c:v>-1.2424277509160218E-2</c:v>
                </c:pt>
                <c:pt idx="2575">
                  <c:v>-1.259172760714683E-2</c:v>
                </c:pt>
                <c:pt idx="2576">
                  <c:v>-1.2693643252780717E-2</c:v>
                </c:pt>
                <c:pt idx="2577">
                  <c:v>-1.2772874030922973E-2</c:v>
                </c:pt>
                <c:pt idx="2578">
                  <c:v>-1.3028712114909512E-2</c:v>
                </c:pt>
                <c:pt idx="2579">
                  <c:v>-1.3123519374376525E-2</c:v>
                </c:pt>
                <c:pt idx="2580">
                  <c:v>-1.3457081425726752E-2</c:v>
                </c:pt>
                <c:pt idx="2581">
                  <c:v>-1.3729576263488828E-2</c:v>
                </c:pt>
                <c:pt idx="2582">
                  <c:v>-1.3965190399213923E-2</c:v>
                </c:pt>
                <c:pt idx="2583">
                  <c:v>-1.4154496658128037E-2</c:v>
                </c:pt>
                <c:pt idx="2584">
                  <c:v>-1.4402881619440498E-2</c:v>
                </c:pt>
                <c:pt idx="2585">
                  <c:v>-1.5595088277727841E-2</c:v>
                </c:pt>
                <c:pt idx="2586">
                  <c:v>-1.6047661050664675E-2</c:v>
                </c:pt>
                <c:pt idx="2587">
                  <c:v>-1.6165604802485745E-2</c:v>
                </c:pt>
                <c:pt idx="2588">
                  <c:v>-1.6699880186903261E-2</c:v>
                </c:pt>
                <c:pt idx="2589">
                  <c:v>-1.5679422634632484E-2</c:v>
                </c:pt>
                <c:pt idx="2590">
                  <c:v>-1.4800185364683485E-2</c:v>
                </c:pt>
                <c:pt idx="2591">
                  <c:v>-1.4147892351236823E-2</c:v>
                </c:pt>
                <c:pt idx="2592">
                  <c:v>-1.3823660906090423E-2</c:v>
                </c:pt>
                <c:pt idx="2593">
                  <c:v>-1.3689173130296415E-2</c:v>
                </c:pt>
                <c:pt idx="2594">
                  <c:v>-1.3720467080959279E-2</c:v>
                </c:pt>
                <c:pt idx="2595">
                  <c:v>-1.3788686213780137E-2</c:v>
                </c:pt>
                <c:pt idx="2596">
                  <c:v>-1.3801719996877916E-2</c:v>
                </c:pt>
                <c:pt idx="2597">
                  <c:v>-1.3807718139287134E-2</c:v>
                </c:pt>
                <c:pt idx="2598">
                  <c:v>-1.3817509554240912E-2</c:v>
                </c:pt>
                <c:pt idx="2599">
                  <c:v>-1.3889740462073081E-2</c:v>
                </c:pt>
                <c:pt idx="2600">
                  <c:v>-1.3961417547142439E-2</c:v>
                </c:pt>
                <c:pt idx="2601">
                  <c:v>-1.4106897619326035E-2</c:v>
                </c:pt>
                <c:pt idx="2602">
                  <c:v>-1.4030079627763415E-2</c:v>
                </c:pt>
                <c:pt idx="2603">
                  <c:v>-1.3995018844960936E-2</c:v>
                </c:pt>
                <c:pt idx="2604">
                  <c:v>-1.4387931239903326E-2</c:v>
                </c:pt>
                <c:pt idx="2605">
                  <c:v>-1.4942714409072216E-2</c:v>
                </c:pt>
                <c:pt idx="2606">
                  <c:v>-1.5379301201790138E-2</c:v>
                </c:pt>
                <c:pt idx="2607">
                  <c:v>-1.5710175970081761E-2</c:v>
                </c:pt>
                <c:pt idx="2608">
                  <c:v>-1.5172404776593871E-2</c:v>
                </c:pt>
                <c:pt idx="2609">
                  <c:v>-1.4937679173805318E-2</c:v>
                </c:pt>
                <c:pt idx="2610">
                  <c:v>-1.489945519196835E-2</c:v>
                </c:pt>
                <c:pt idx="2611">
                  <c:v>-1.5181105773243784E-2</c:v>
                </c:pt>
                <c:pt idx="2612">
                  <c:v>-1.526107579601689E-2</c:v>
                </c:pt>
                <c:pt idx="2613">
                  <c:v>-1.5374694997728033E-2</c:v>
                </c:pt>
                <c:pt idx="2614">
                  <c:v>-1.5316213233983021E-2</c:v>
                </c:pt>
                <c:pt idx="2615">
                  <c:v>-1.5014218714771804E-2</c:v>
                </c:pt>
                <c:pt idx="2616">
                  <c:v>-1.4639070086456502E-2</c:v>
                </c:pt>
                <c:pt idx="2617">
                  <c:v>-1.4229895298537507E-2</c:v>
                </c:pt>
                <c:pt idx="2618">
                  <c:v>-1.3919546541595083E-2</c:v>
                </c:pt>
                <c:pt idx="2619">
                  <c:v>-1.4024857603550565E-2</c:v>
                </c:pt>
                <c:pt idx="2620">
                  <c:v>-1.4219553766904636E-2</c:v>
                </c:pt>
                <c:pt idx="2621">
                  <c:v>-1.4424772228125477E-2</c:v>
                </c:pt>
                <c:pt idx="2622">
                  <c:v>-1.4564419535522441E-2</c:v>
                </c:pt>
                <c:pt idx="2623">
                  <c:v>-1.4670920499230031E-2</c:v>
                </c:pt>
                <c:pt idx="2624">
                  <c:v>-1.4793421303680405E-2</c:v>
                </c:pt>
                <c:pt idx="2625">
                  <c:v>-1.4683740920517767E-2</c:v>
                </c:pt>
                <c:pt idx="2626">
                  <c:v>-1.4599673997148285E-2</c:v>
                </c:pt>
                <c:pt idx="2627">
                  <c:v>-1.4449056003627715E-2</c:v>
                </c:pt>
                <c:pt idx="2628">
                  <c:v>-1.4032338650499465E-2</c:v>
                </c:pt>
                <c:pt idx="2629">
                  <c:v>-1.3269107829444474E-2</c:v>
                </c:pt>
                <c:pt idx="2630">
                  <c:v>-1.2570894286115627E-2</c:v>
                </c:pt>
                <c:pt idx="2631">
                  <c:v>-1.2277125544771358E-2</c:v>
                </c:pt>
                <c:pt idx="2632">
                  <c:v>-1.2504287024531014E-2</c:v>
                </c:pt>
                <c:pt idx="2633">
                  <c:v>-1.2742513225023448E-2</c:v>
                </c:pt>
                <c:pt idx="2634">
                  <c:v>-1.2525799958597312E-2</c:v>
                </c:pt>
                <c:pt idx="2635">
                  <c:v>-1.2079770505334295E-2</c:v>
                </c:pt>
                <c:pt idx="2636">
                  <c:v>-1.1479384309098943E-2</c:v>
                </c:pt>
                <c:pt idx="2637">
                  <c:v>-1.096501801307118E-2</c:v>
                </c:pt>
                <c:pt idx="2638">
                  <c:v>-1.1622103582542207E-2</c:v>
                </c:pt>
                <c:pt idx="2639">
                  <c:v>-1.2563617880063986E-2</c:v>
                </c:pt>
                <c:pt idx="2640">
                  <c:v>-1.3142748818917697E-2</c:v>
                </c:pt>
                <c:pt idx="2641">
                  <c:v>-1.3010507722763683E-2</c:v>
                </c:pt>
                <c:pt idx="2642">
                  <c:v>-1.2883011244430372E-2</c:v>
                </c:pt>
                <c:pt idx="2643">
                  <c:v>-1.2757078357523648E-2</c:v>
                </c:pt>
                <c:pt idx="2644">
                  <c:v>-1.2757054921701733E-2</c:v>
                </c:pt>
                <c:pt idx="2645">
                  <c:v>-1.212475738237506E-2</c:v>
                </c:pt>
                <c:pt idx="2646">
                  <c:v>-1.1384189668365609E-2</c:v>
                </c:pt>
                <c:pt idx="2647">
                  <c:v>-1.1173000012592787E-2</c:v>
                </c:pt>
                <c:pt idx="2648">
                  <c:v>-1.1160628539063909E-2</c:v>
                </c:pt>
                <c:pt idx="2649">
                  <c:v>-1.1267690542031621E-2</c:v>
                </c:pt>
                <c:pt idx="2650">
                  <c:v>-1.1191540461245011E-2</c:v>
                </c:pt>
                <c:pt idx="2651">
                  <c:v>-1.0830718468035346E-2</c:v>
                </c:pt>
                <c:pt idx="2652">
                  <c:v>-1.0637800049157481E-2</c:v>
                </c:pt>
                <c:pt idx="2653">
                  <c:v>-1.0692508695072293E-2</c:v>
                </c:pt>
                <c:pt idx="2654">
                  <c:v>-1.0787043667552816E-2</c:v>
                </c:pt>
                <c:pt idx="2655">
                  <c:v>-1.0819411225232708E-2</c:v>
                </c:pt>
                <c:pt idx="2656">
                  <c:v>-1.0626426717460405E-2</c:v>
                </c:pt>
                <c:pt idx="2657">
                  <c:v>-1.088925313602793E-2</c:v>
                </c:pt>
                <c:pt idx="2658">
                  <c:v>-1.2267316546829559E-2</c:v>
                </c:pt>
                <c:pt idx="2659">
                  <c:v>-1.3876307534072931E-2</c:v>
                </c:pt>
                <c:pt idx="2660">
                  <c:v>-1.5354944695347974E-2</c:v>
                </c:pt>
                <c:pt idx="2661">
                  <c:v>-1.6357708634879575E-2</c:v>
                </c:pt>
                <c:pt idx="2662">
                  <c:v>-1.6627281917714724E-2</c:v>
                </c:pt>
                <c:pt idx="2663">
                  <c:v>-1.6400453383144019E-2</c:v>
                </c:pt>
                <c:pt idx="2664">
                  <c:v>-1.6071957860363209E-2</c:v>
                </c:pt>
                <c:pt idx="2665">
                  <c:v>-1.5715669932002414E-2</c:v>
                </c:pt>
                <c:pt idx="2666">
                  <c:v>-1.5659341183964927E-2</c:v>
                </c:pt>
                <c:pt idx="2667">
                  <c:v>-1.5787800077593325E-2</c:v>
                </c:pt>
                <c:pt idx="2668">
                  <c:v>-1.5996573234821333E-2</c:v>
                </c:pt>
                <c:pt idx="2669">
                  <c:v>-1.6209317050575218E-2</c:v>
                </c:pt>
                <c:pt idx="2670">
                  <c:v>-1.6374405962038784E-2</c:v>
                </c:pt>
                <c:pt idx="2671">
                  <c:v>-1.6329861691402756E-2</c:v>
                </c:pt>
                <c:pt idx="2672">
                  <c:v>-1.6557338943731258E-2</c:v>
                </c:pt>
                <c:pt idx="2673">
                  <c:v>-1.6643573204373239E-2</c:v>
                </c:pt>
                <c:pt idx="2674">
                  <c:v>-1.6811380345427403E-2</c:v>
                </c:pt>
                <c:pt idx="2675">
                  <c:v>-1.7328715820079714E-2</c:v>
                </c:pt>
                <c:pt idx="2676">
                  <c:v>-1.7997268960784893E-2</c:v>
                </c:pt>
                <c:pt idx="2677">
                  <c:v>-1.8351944794420802E-2</c:v>
                </c:pt>
                <c:pt idx="2678">
                  <c:v>-1.8543147124463866E-2</c:v>
                </c:pt>
                <c:pt idx="2679">
                  <c:v>-1.8441178562067648E-2</c:v>
                </c:pt>
                <c:pt idx="2680">
                  <c:v>-1.8235434662876589E-2</c:v>
                </c:pt>
                <c:pt idx="2681">
                  <c:v>-1.8360405515969909E-2</c:v>
                </c:pt>
                <c:pt idx="2682">
                  <c:v>-1.8405068642491196E-2</c:v>
                </c:pt>
                <c:pt idx="2683">
                  <c:v>-1.8488740192840476E-2</c:v>
                </c:pt>
                <c:pt idx="2684">
                  <c:v>-1.8528358338078255E-2</c:v>
                </c:pt>
                <c:pt idx="2685">
                  <c:v>-1.8744964785178536E-2</c:v>
                </c:pt>
                <c:pt idx="2686">
                  <c:v>-1.9183725913228436E-2</c:v>
                </c:pt>
                <c:pt idx="2687">
                  <c:v>-1.9429445386611711E-2</c:v>
                </c:pt>
                <c:pt idx="2688">
                  <c:v>-1.9085782869183547E-2</c:v>
                </c:pt>
                <c:pt idx="2689">
                  <c:v>-1.846452518817052E-2</c:v>
                </c:pt>
                <c:pt idx="2690">
                  <c:v>-1.7477290209182542E-2</c:v>
                </c:pt>
                <c:pt idx="2691">
                  <c:v>-1.6353175246158643E-2</c:v>
                </c:pt>
                <c:pt idx="2692">
                  <c:v>-1.5172325964338939E-2</c:v>
                </c:pt>
                <c:pt idx="2693">
                  <c:v>-1.4299132859922504E-2</c:v>
                </c:pt>
                <c:pt idx="2694">
                  <c:v>-1.4165779086490094E-2</c:v>
                </c:pt>
                <c:pt idx="2695">
                  <c:v>-1.4536306328777494E-2</c:v>
                </c:pt>
                <c:pt idx="2696">
                  <c:v>-1.542464343279162E-2</c:v>
                </c:pt>
                <c:pt idx="2697">
                  <c:v>-1.6333296990395381E-2</c:v>
                </c:pt>
                <c:pt idx="2698">
                  <c:v>-1.7033068208772671E-2</c:v>
                </c:pt>
                <c:pt idx="2699">
                  <c:v>-1.7141262748305262E-2</c:v>
                </c:pt>
                <c:pt idx="2700">
                  <c:v>-1.7029188686895777E-2</c:v>
                </c:pt>
                <c:pt idx="2701">
                  <c:v>-1.7129075945037781E-2</c:v>
                </c:pt>
                <c:pt idx="2702">
                  <c:v>-1.69479531836535E-2</c:v>
                </c:pt>
                <c:pt idx="2703">
                  <c:v>-1.6768010817432621E-2</c:v>
                </c:pt>
                <c:pt idx="2704">
                  <c:v>-1.6829227757743984E-2</c:v>
                </c:pt>
                <c:pt idx="2705">
                  <c:v>-1.6891429318157937E-2</c:v>
                </c:pt>
                <c:pt idx="2706">
                  <c:v>-1.6442547925580881E-2</c:v>
                </c:pt>
                <c:pt idx="2707">
                  <c:v>-1.6453218396228347E-2</c:v>
                </c:pt>
                <c:pt idx="2708">
                  <c:v>-1.6496840007020903E-2</c:v>
                </c:pt>
                <c:pt idx="2709">
                  <c:v>-1.6632861265005856E-2</c:v>
                </c:pt>
                <c:pt idx="2710">
                  <c:v>-1.7500685256167825E-2</c:v>
                </c:pt>
                <c:pt idx="2711">
                  <c:v>-1.8358231230324148E-2</c:v>
                </c:pt>
                <c:pt idx="2712">
                  <c:v>-1.9279260874726162E-2</c:v>
                </c:pt>
                <c:pt idx="2713">
                  <c:v>-1.9615442233114292E-2</c:v>
                </c:pt>
                <c:pt idx="2714">
                  <c:v>-1.9745362956079197E-2</c:v>
                </c:pt>
                <c:pt idx="2715">
                  <c:v>-1.9655403874612815E-2</c:v>
                </c:pt>
                <c:pt idx="2716">
                  <c:v>-1.9558404661047721E-2</c:v>
                </c:pt>
                <c:pt idx="2717">
                  <c:v>-1.9436042904443611E-2</c:v>
                </c:pt>
                <c:pt idx="2718">
                  <c:v>-1.9365532213153361E-2</c:v>
                </c:pt>
                <c:pt idx="2719">
                  <c:v>-1.934713321284148E-2</c:v>
                </c:pt>
                <c:pt idx="2720">
                  <c:v>-1.9296937119740183E-2</c:v>
                </c:pt>
                <c:pt idx="2721">
                  <c:v>-1.9293980158526333E-2</c:v>
                </c:pt>
                <c:pt idx="2722">
                  <c:v>-1.9336004973777049E-2</c:v>
                </c:pt>
                <c:pt idx="2723">
                  <c:v>-1.9369408318553015E-2</c:v>
                </c:pt>
                <c:pt idx="2724">
                  <c:v>-1.9226427900486544E-2</c:v>
                </c:pt>
                <c:pt idx="2725">
                  <c:v>-1.8757396717034754E-2</c:v>
                </c:pt>
                <c:pt idx="2726">
                  <c:v>-1.7905827035425835E-2</c:v>
                </c:pt>
                <c:pt idx="2727">
                  <c:v>-1.660747989783249E-2</c:v>
                </c:pt>
                <c:pt idx="2728">
                  <c:v>-1.5138088802388755E-2</c:v>
                </c:pt>
                <c:pt idx="2729">
                  <c:v>-1.4249488048534435E-2</c:v>
                </c:pt>
                <c:pt idx="2730">
                  <c:v>-1.3754752842443801E-2</c:v>
                </c:pt>
                <c:pt idx="2731">
                  <c:v>-1.3395796085949692E-2</c:v>
                </c:pt>
                <c:pt idx="2732">
                  <c:v>-1.1783367560712034E-2</c:v>
                </c:pt>
                <c:pt idx="2733">
                  <c:v>-1.0924360305735405E-2</c:v>
                </c:pt>
                <c:pt idx="2734">
                  <c:v>-1.1132558485244125E-2</c:v>
                </c:pt>
                <c:pt idx="2735">
                  <c:v>-1.1681783601187469E-2</c:v>
                </c:pt>
                <c:pt idx="2736">
                  <c:v>-1.2629526215185535E-2</c:v>
                </c:pt>
                <c:pt idx="2737">
                  <c:v>-1.4129791495774063E-2</c:v>
                </c:pt>
                <c:pt idx="2738">
                  <c:v>-1.5313410343711295E-2</c:v>
                </c:pt>
                <c:pt idx="2739">
                  <c:v>-1.6270948122705329E-2</c:v>
                </c:pt>
                <c:pt idx="2740">
                  <c:v>-1.6812832711909087E-2</c:v>
                </c:pt>
                <c:pt idx="2741">
                  <c:v>-1.8334544909852861E-2</c:v>
                </c:pt>
                <c:pt idx="2742">
                  <c:v>-1.9542584635701486E-2</c:v>
                </c:pt>
                <c:pt idx="2743">
                  <c:v>-2.003699832707561E-2</c:v>
                </c:pt>
                <c:pt idx="2744">
                  <c:v>-1.9435685671362578E-2</c:v>
                </c:pt>
                <c:pt idx="2745">
                  <c:v>-1.8911496143979321E-2</c:v>
                </c:pt>
                <c:pt idx="2746">
                  <c:v>-1.8516024591425498E-2</c:v>
                </c:pt>
                <c:pt idx="2747">
                  <c:v>-1.8286846408466496E-2</c:v>
                </c:pt>
                <c:pt idx="2748">
                  <c:v>-1.8217435111586661E-2</c:v>
                </c:pt>
                <c:pt idx="2749">
                  <c:v>-1.8099294763298933E-2</c:v>
                </c:pt>
                <c:pt idx="2750">
                  <c:v>-1.807972255436038E-2</c:v>
                </c:pt>
                <c:pt idx="2751">
                  <c:v>-1.8149278082425134E-2</c:v>
                </c:pt>
                <c:pt idx="2752">
                  <c:v>-1.8246220995543117E-2</c:v>
                </c:pt>
                <c:pt idx="2753">
                  <c:v>-1.8341165148037027E-2</c:v>
                </c:pt>
                <c:pt idx="2754">
                  <c:v>-1.8386535807002335E-2</c:v>
                </c:pt>
                <c:pt idx="2755">
                  <c:v>-1.7042099592937114E-2</c:v>
                </c:pt>
                <c:pt idx="2756">
                  <c:v>-1.7096584576519899E-2</c:v>
                </c:pt>
                <c:pt idx="2757">
                  <c:v>-1.7234720893888611E-2</c:v>
                </c:pt>
                <c:pt idx="2758">
                  <c:v>-1.6817387054503623E-2</c:v>
                </c:pt>
                <c:pt idx="2759">
                  <c:v>-1.6617228286850909E-2</c:v>
                </c:pt>
                <c:pt idx="2760">
                  <c:v>-1.6516602155990212E-2</c:v>
                </c:pt>
                <c:pt idx="2761">
                  <c:v>-1.6401377507844386E-2</c:v>
                </c:pt>
                <c:pt idx="2762">
                  <c:v>-1.6941080220861514E-2</c:v>
                </c:pt>
                <c:pt idx="2763">
                  <c:v>-1.7316621561372897E-2</c:v>
                </c:pt>
                <c:pt idx="2764">
                  <c:v>-1.7641255664493326E-2</c:v>
                </c:pt>
                <c:pt idx="2765">
                  <c:v>-1.7882110547285546E-2</c:v>
                </c:pt>
                <c:pt idx="2766">
                  <c:v>-1.8040370426151291E-2</c:v>
                </c:pt>
                <c:pt idx="2767">
                  <c:v>-1.8016624512696172E-2</c:v>
                </c:pt>
                <c:pt idx="2768">
                  <c:v>-1.7907464246127748E-2</c:v>
                </c:pt>
                <c:pt idx="2769">
                  <c:v>-1.7806562684208299E-2</c:v>
                </c:pt>
                <c:pt idx="2770">
                  <c:v>-1.784652009489722E-2</c:v>
                </c:pt>
                <c:pt idx="2771">
                  <c:v>-1.7193974276860171E-2</c:v>
                </c:pt>
                <c:pt idx="2772">
                  <c:v>-1.6331910376912576E-2</c:v>
                </c:pt>
                <c:pt idx="2773">
                  <c:v>-1.5271274722646964E-2</c:v>
                </c:pt>
                <c:pt idx="2774">
                  <c:v>-1.4719902724276904E-2</c:v>
                </c:pt>
                <c:pt idx="2775">
                  <c:v>-1.4853389812585879E-2</c:v>
                </c:pt>
                <c:pt idx="2776">
                  <c:v>-1.5304247906728996E-2</c:v>
                </c:pt>
                <c:pt idx="2777">
                  <c:v>-1.5785623935612024E-2</c:v>
                </c:pt>
                <c:pt idx="2778">
                  <c:v>-1.6218927499444084E-2</c:v>
                </c:pt>
                <c:pt idx="2779">
                  <c:v>-1.7178513773400385E-2</c:v>
                </c:pt>
                <c:pt idx="2780">
                  <c:v>-1.7981028730416022E-2</c:v>
                </c:pt>
                <c:pt idx="2781">
                  <c:v>-1.8074734246155248E-2</c:v>
                </c:pt>
                <c:pt idx="2782">
                  <c:v>-1.7086519919574134E-2</c:v>
                </c:pt>
                <c:pt idx="2783">
                  <c:v>-1.6174716992195338E-2</c:v>
                </c:pt>
                <c:pt idx="2784">
                  <c:v>-1.588951210948223E-2</c:v>
                </c:pt>
                <c:pt idx="2785">
                  <c:v>-1.7019180511118455E-2</c:v>
                </c:pt>
                <c:pt idx="2786">
                  <c:v>-1.700927618163546E-2</c:v>
                </c:pt>
                <c:pt idx="2787">
                  <c:v>-1.6805891148699015E-2</c:v>
                </c:pt>
                <c:pt idx="2788">
                  <c:v>-1.7125600313672024E-2</c:v>
                </c:pt>
                <c:pt idx="2789">
                  <c:v>-1.6938100570634971E-2</c:v>
                </c:pt>
                <c:pt idx="2790">
                  <c:v>-1.6811569876313388E-2</c:v>
                </c:pt>
                <c:pt idx="2791">
                  <c:v>-1.6971034013555413E-2</c:v>
                </c:pt>
                <c:pt idx="2792">
                  <c:v>-1.7114339964883433E-2</c:v>
                </c:pt>
                <c:pt idx="2793">
                  <c:v>-1.6825790909025633E-2</c:v>
                </c:pt>
                <c:pt idx="2794">
                  <c:v>-1.7283926474767845E-2</c:v>
                </c:pt>
                <c:pt idx="2795">
                  <c:v>-1.7696060579142969E-2</c:v>
                </c:pt>
                <c:pt idx="2796">
                  <c:v>-1.7815156668237776E-2</c:v>
                </c:pt>
                <c:pt idx="2797">
                  <c:v>-1.7740887993041549E-2</c:v>
                </c:pt>
                <c:pt idx="2798">
                  <c:v>-1.8114390205477136E-2</c:v>
                </c:pt>
                <c:pt idx="2799">
                  <c:v>-1.8697468111118706E-2</c:v>
                </c:pt>
                <c:pt idx="2800">
                  <c:v>-1.9267108061381877E-2</c:v>
                </c:pt>
                <c:pt idx="2801">
                  <c:v>-1.8926691632934173E-2</c:v>
                </c:pt>
                <c:pt idx="2802">
                  <c:v>-1.9464513742862139E-2</c:v>
                </c:pt>
                <c:pt idx="2803">
                  <c:v>-1.9827472438237775E-2</c:v>
                </c:pt>
                <c:pt idx="2804">
                  <c:v>-2.0382142777171375E-2</c:v>
                </c:pt>
                <c:pt idx="2805">
                  <c:v>-2.0923675678053678E-2</c:v>
                </c:pt>
                <c:pt idx="2806">
                  <c:v>-2.135105090952201E-2</c:v>
                </c:pt>
                <c:pt idx="2807">
                  <c:v>-2.15415311679917E-2</c:v>
                </c:pt>
                <c:pt idx="2808">
                  <c:v>-2.1639929530631721E-2</c:v>
                </c:pt>
                <c:pt idx="2809">
                  <c:v>-2.1477504811857683E-2</c:v>
                </c:pt>
                <c:pt idx="2810">
                  <c:v>-2.1440168056924575E-2</c:v>
                </c:pt>
                <c:pt idx="2811">
                  <c:v>-2.168900369974551E-2</c:v>
                </c:pt>
                <c:pt idx="2812">
                  <c:v>-2.2847791980187465E-2</c:v>
                </c:pt>
                <c:pt idx="2813">
                  <c:v>-2.3695873058647683E-2</c:v>
                </c:pt>
                <c:pt idx="2814">
                  <c:v>-2.3728381365129052E-2</c:v>
                </c:pt>
                <c:pt idx="2815">
                  <c:v>-2.3461112749420455E-2</c:v>
                </c:pt>
                <c:pt idx="2816">
                  <c:v>-2.2851525244761091E-2</c:v>
                </c:pt>
                <c:pt idx="2817">
                  <c:v>-2.229635711946314E-2</c:v>
                </c:pt>
                <c:pt idx="2818">
                  <c:v>-2.1842853760514154E-2</c:v>
                </c:pt>
                <c:pt idx="2819">
                  <c:v>-2.1788232518242398E-2</c:v>
                </c:pt>
                <c:pt idx="2820">
                  <c:v>-2.1856890483566344E-2</c:v>
                </c:pt>
                <c:pt idx="2821">
                  <c:v>-2.1729557080134042E-2</c:v>
                </c:pt>
                <c:pt idx="2822">
                  <c:v>-2.160494638620044E-2</c:v>
                </c:pt>
                <c:pt idx="2823">
                  <c:v>-2.2407890597179292E-2</c:v>
                </c:pt>
                <c:pt idx="2824">
                  <c:v>-2.2331411186704512E-2</c:v>
                </c:pt>
                <c:pt idx="2825">
                  <c:v>-2.2267553776998836E-2</c:v>
                </c:pt>
                <c:pt idx="2826">
                  <c:v>-2.2425188755182346E-2</c:v>
                </c:pt>
                <c:pt idx="2827">
                  <c:v>-2.2920007709014395E-2</c:v>
                </c:pt>
                <c:pt idx="2828">
                  <c:v>-2.3337779923151399E-2</c:v>
                </c:pt>
                <c:pt idx="2829">
                  <c:v>-2.3553040252562933E-2</c:v>
                </c:pt>
                <c:pt idx="2830">
                  <c:v>-2.3424382117735322E-2</c:v>
                </c:pt>
                <c:pt idx="2831">
                  <c:v>-2.4343134989835404E-2</c:v>
                </c:pt>
                <c:pt idx="2832">
                  <c:v>-2.4185282707117693E-2</c:v>
                </c:pt>
                <c:pt idx="2833">
                  <c:v>-2.4652553794398704E-2</c:v>
                </c:pt>
                <c:pt idx="2834">
                  <c:v>-2.4541660282782853E-2</c:v>
                </c:pt>
                <c:pt idx="2835">
                  <c:v>-2.4120445158499704E-2</c:v>
                </c:pt>
                <c:pt idx="2836">
                  <c:v>-2.3546312313338869E-2</c:v>
                </c:pt>
                <c:pt idx="2837">
                  <c:v>-2.3159695915682822E-2</c:v>
                </c:pt>
                <c:pt idx="2838">
                  <c:v>-2.2726172128440761E-2</c:v>
                </c:pt>
                <c:pt idx="2839">
                  <c:v>-2.2148996854698372E-2</c:v>
                </c:pt>
                <c:pt idx="2840">
                  <c:v>-2.0848492557475562E-2</c:v>
                </c:pt>
                <c:pt idx="2841">
                  <c:v>-1.9533267110478772E-2</c:v>
                </c:pt>
                <c:pt idx="2842">
                  <c:v>-1.8153199921798892E-2</c:v>
                </c:pt>
                <c:pt idx="2843">
                  <c:v>-1.6889388720869727E-2</c:v>
                </c:pt>
                <c:pt idx="2844">
                  <c:v>-1.5583881408993815E-2</c:v>
                </c:pt>
                <c:pt idx="2845">
                  <c:v>-1.4297254750334949E-2</c:v>
                </c:pt>
                <c:pt idx="2846">
                  <c:v>-1.3466203692527358E-2</c:v>
                </c:pt>
                <c:pt idx="2847">
                  <c:v>-1.337971611027514E-2</c:v>
                </c:pt>
                <c:pt idx="2848">
                  <c:v>-1.3885654541725755E-2</c:v>
                </c:pt>
                <c:pt idx="2849">
                  <c:v>-1.4133755011648805E-2</c:v>
                </c:pt>
                <c:pt idx="2850">
                  <c:v>-1.4191269288743775E-2</c:v>
                </c:pt>
                <c:pt idx="2851">
                  <c:v>-1.4252555491369044E-2</c:v>
                </c:pt>
                <c:pt idx="2852">
                  <c:v>-1.4585675804152968E-2</c:v>
                </c:pt>
                <c:pt idx="2853">
                  <c:v>-1.4531659000466265E-2</c:v>
                </c:pt>
                <c:pt idx="2854">
                  <c:v>-1.4550588538511686E-2</c:v>
                </c:pt>
                <c:pt idx="2855">
                  <c:v>-1.4324830975596876E-2</c:v>
                </c:pt>
                <c:pt idx="2856">
                  <c:v>-1.4138574800635241E-2</c:v>
                </c:pt>
                <c:pt idx="2857">
                  <c:v>-1.4281998078788376E-2</c:v>
                </c:pt>
                <c:pt idx="2858">
                  <c:v>-1.4770433459306016E-2</c:v>
                </c:pt>
                <c:pt idx="2859">
                  <c:v>-1.5066066802154393E-2</c:v>
                </c:pt>
                <c:pt idx="2860">
                  <c:v>-1.5506438742077661E-2</c:v>
                </c:pt>
                <c:pt idx="2861">
                  <c:v>-1.7049214738461757E-2</c:v>
                </c:pt>
                <c:pt idx="2862">
                  <c:v>-1.8518854549056378E-2</c:v>
                </c:pt>
                <c:pt idx="2863">
                  <c:v>-1.9825395724611242E-2</c:v>
                </c:pt>
                <c:pt idx="2864">
                  <c:v>-2.0724302985134863E-2</c:v>
                </c:pt>
                <c:pt idx="2865">
                  <c:v>-2.133721767724793E-2</c:v>
                </c:pt>
                <c:pt idx="2866">
                  <c:v>-2.1758589538311113E-2</c:v>
                </c:pt>
                <c:pt idx="2867">
                  <c:v>-2.2151551439079209E-2</c:v>
                </c:pt>
                <c:pt idx="2868">
                  <c:v>-2.2649456006633616E-2</c:v>
                </c:pt>
                <c:pt idx="2869">
                  <c:v>-2.3074056001735694E-2</c:v>
                </c:pt>
                <c:pt idx="2870">
                  <c:v>-2.3980436862581198E-2</c:v>
                </c:pt>
                <c:pt idx="2871">
                  <c:v>-2.4408074022771162E-2</c:v>
                </c:pt>
                <c:pt idx="2872">
                  <c:v>-2.4591900140630001E-2</c:v>
                </c:pt>
                <c:pt idx="2873">
                  <c:v>-2.4725760049252081E-2</c:v>
                </c:pt>
                <c:pt idx="2874">
                  <c:v>-2.4564072534814227E-2</c:v>
                </c:pt>
                <c:pt idx="2875">
                  <c:v>-2.4575104511616604E-2</c:v>
                </c:pt>
                <c:pt idx="2876">
                  <c:v>-2.4557219737423804E-2</c:v>
                </c:pt>
                <c:pt idx="2877">
                  <c:v>-2.4647080546518495E-2</c:v>
                </c:pt>
                <c:pt idx="2878">
                  <c:v>-2.4820349166091327E-2</c:v>
                </c:pt>
                <c:pt idx="2879">
                  <c:v>-2.4912277833175143E-2</c:v>
                </c:pt>
                <c:pt idx="2880">
                  <c:v>-2.4759920146349989E-2</c:v>
                </c:pt>
                <c:pt idx="2881">
                  <c:v>-2.4606465844656245E-2</c:v>
                </c:pt>
                <c:pt idx="2882">
                  <c:v>-2.4333177102324844E-2</c:v>
                </c:pt>
                <c:pt idx="2883">
                  <c:v>-2.3684310786758304E-2</c:v>
                </c:pt>
                <c:pt idx="2884">
                  <c:v>-2.2657181079582957E-2</c:v>
                </c:pt>
                <c:pt idx="2885">
                  <c:v>-2.0258136336229547E-2</c:v>
                </c:pt>
                <c:pt idx="2886">
                  <c:v>-1.8612480451241684E-2</c:v>
                </c:pt>
                <c:pt idx="2887">
                  <c:v>-1.8100310762423792E-2</c:v>
                </c:pt>
                <c:pt idx="2888">
                  <c:v>-1.8719526489687312E-2</c:v>
                </c:pt>
                <c:pt idx="2889">
                  <c:v>-1.9694494013118631E-2</c:v>
                </c:pt>
                <c:pt idx="2890">
                  <c:v>-2.054483199543488E-2</c:v>
                </c:pt>
                <c:pt idx="2891">
                  <c:v>-2.0894342830995873E-2</c:v>
                </c:pt>
                <c:pt idx="2892">
                  <c:v>-2.1289211078633671E-2</c:v>
                </c:pt>
                <c:pt idx="2893">
                  <c:v>-2.1404386823440369E-2</c:v>
                </c:pt>
                <c:pt idx="2894">
                  <c:v>-2.1637998186334252E-2</c:v>
                </c:pt>
                <c:pt idx="2895">
                  <c:v>-2.1778231755225547E-2</c:v>
                </c:pt>
                <c:pt idx="2896">
                  <c:v>-2.1871751629568881E-2</c:v>
                </c:pt>
                <c:pt idx="2897">
                  <c:v>-2.1573910863841222E-2</c:v>
                </c:pt>
                <c:pt idx="2898">
                  <c:v>-2.0858029549864557E-2</c:v>
                </c:pt>
                <c:pt idx="2899">
                  <c:v>-2.0056519141678015E-2</c:v>
                </c:pt>
                <c:pt idx="2900">
                  <c:v>-1.9318616861006572E-2</c:v>
                </c:pt>
                <c:pt idx="2901">
                  <c:v>-1.8877758521317692E-2</c:v>
                </c:pt>
                <c:pt idx="2902">
                  <c:v>-1.8720125401744201E-2</c:v>
                </c:pt>
                <c:pt idx="2903">
                  <c:v>-1.8691120920895046E-2</c:v>
                </c:pt>
                <c:pt idx="2904">
                  <c:v>-1.889152851074339E-2</c:v>
                </c:pt>
                <c:pt idx="2905">
                  <c:v>-1.9048826445761283E-2</c:v>
                </c:pt>
                <c:pt idx="2906">
                  <c:v>-1.9320431788911192E-2</c:v>
                </c:pt>
                <c:pt idx="2907">
                  <c:v>-1.9453064331763248E-2</c:v>
                </c:pt>
                <c:pt idx="2908">
                  <c:v>-1.9462138775832395E-2</c:v>
                </c:pt>
                <c:pt idx="2909">
                  <c:v>-1.9473477109615278E-2</c:v>
                </c:pt>
                <c:pt idx="2910">
                  <c:v>-1.9509214873527431E-2</c:v>
                </c:pt>
                <c:pt idx="2911">
                  <c:v>-1.9310152211733135E-2</c:v>
                </c:pt>
                <c:pt idx="2912">
                  <c:v>-1.8626683361121013E-2</c:v>
                </c:pt>
                <c:pt idx="2913">
                  <c:v>-1.7929820733255622E-2</c:v>
                </c:pt>
                <c:pt idx="2914">
                  <c:v>-1.7088018268900343E-2</c:v>
                </c:pt>
                <c:pt idx="2915">
                  <c:v>-1.7149267425417003E-2</c:v>
                </c:pt>
                <c:pt idx="2916">
                  <c:v>-1.7692083160390729E-2</c:v>
                </c:pt>
                <c:pt idx="2917">
                  <c:v>-1.8469673309028857E-2</c:v>
                </c:pt>
                <c:pt idx="2918">
                  <c:v>-1.842823404922319E-2</c:v>
                </c:pt>
                <c:pt idx="2919">
                  <c:v>-1.7903025756377044E-2</c:v>
                </c:pt>
                <c:pt idx="2920">
                  <c:v>-1.7839620865443027E-2</c:v>
                </c:pt>
                <c:pt idx="2921">
                  <c:v>-1.832629255854875E-2</c:v>
                </c:pt>
                <c:pt idx="2922">
                  <c:v>-1.8500262593555278E-2</c:v>
                </c:pt>
                <c:pt idx="2923">
                  <c:v>-1.8702382486213389E-2</c:v>
                </c:pt>
                <c:pt idx="2924">
                  <c:v>-1.8431185395714821E-2</c:v>
                </c:pt>
                <c:pt idx="2925">
                  <c:v>-1.8117586670066278E-2</c:v>
                </c:pt>
                <c:pt idx="2926">
                  <c:v>-1.7800878968611079E-2</c:v>
                </c:pt>
                <c:pt idx="2927">
                  <c:v>-1.7697399067690561E-2</c:v>
                </c:pt>
                <c:pt idx="2928">
                  <c:v>-1.7887697702294331E-2</c:v>
                </c:pt>
                <c:pt idx="2929">
                  <c:v>-1.8129686813831529E-2</c:v>
                </c:pt>
                <c:pt idx="2930">
                  <c:v>-1.8565216207625294E-2</c:v>
                </c:pt>
                <c:pt idx="2931">
                  <c:v>-1.8865806480043729E-2</c:v>
                </c:pt>
                <c:pt idx="2932">
                  <c:v>-1.8848507314016674E-2</c:v>
                </c:pt>
                <c:pt idx="2933">
                  <c:v>-1.8386148496017971E-2</c:v>
                </c:pt>
                <c:pt idx="2934">
                  <c:v>-1.7857226379882924E-2</c:v>
                </c:pt>
                <c:pt idx="2935">
                  <c:v>-1.7386224642581868E-2</c:v>
                </c:pt>
                <c:pt idx="2936">
                  <c:v>-1.7141897628529509E-2</c:v>
                </c:pt>
                <c:pt idx="2937">
                  <c:v>-1.7143234507455987E-2</c:v>
                </c:pt>
                <c:pt idx="2938">
                  <c:v>-1.7430851247478212E-2</c:v>
                </c:pt>
                <c:pt idx="2939">
                  <c:v>-1.7608101805779795E-2</c:v>
                </c:pt>
                <c:pt idx="2940">
                  <c:v>-1.8075711680742668E-2</c:v>
                </c:pt>
                <c:pt idx="2941">
                  <c:v>-1.8628106640524687E-2</c:v>
                </c:pt>
                <c:pt idx="2942">
                  <c:v>-1.9256466076878528E-2</c:v>
                </c:pt>
                <c:pt idx="2943">
                  <c:v>-1.9877363100714977E-2</c:v>
                </c:pt>
                <c:pt idx="2944">
                  <c:v>-2.0262723303820673E-2</c:v>
                </c:pt>
                <c:pt idx="2945">
                  <c:v>-1.9714600352886053E-2</c:v>
                </c:pt>
                <c:pt idx="2946">
                  <c:v>-1.9421831608857392E-2</c:v>
                </c:pt>
                <c:pt idx="2947">
                  <c:v>-1.9091124770922476E-2</c:v>
                </c:pt>
                <c:pt idx="2948">
                  <c:v>-1.8786955106497555E-2</c:v>
                </c:pt>
                <c:pt idx="2949">
                  <c:v>-1.8523601256892876E-2</c:v>
                </c:pt>
                <c:pt idx="2950">
                  <c:v>-1.7639251827737318E-2</c:v>
                </c:pt>
                <c:pt idx="2951">
                  <c:v>-1.68518230634172E-2</c:v>
                </c:pt>
                <c:pt idx="2952">
                  <c:v>-1.6418643599080983E-2</c:v>
                </c:pt>
                <c:pt idx="2953">
                  <c:v>-1.672306281643544E-2</c:v>
                </c:pt>
                <c:pt idx="2954">
                  <c:v>-1.7326002072855822E-2</c:v>
                </c:pt>
                <c:pt idx="2955">
                  <c:v>-1.7842992033107335E-2</c:v>
                </c:pt>
                <c:pt idx="2956">
                  <c:v>-1.856164943633409E-2</c:v>
                </c:pt>
                <c:pt idx="2957">
                  <c:v>-1.9250871824221728E-2</c:v>
                </c:pt>
                <c:pt idx="2958">
                  <c:v>-1.9646645992405405E-2</c:v>
                </c:pt>
                <c:pt idx="2959">
                  <c:v>-1.9758670382328876E-2</c:v>
                </c:pt>
                <c:pt idx="2960">
                  <c:v>-1.9790922212972462E-2</c:v>
                </c:pt>
                <c:pt idx="2961">
                  <c:v>-2.0015511004185641E-2</c:v>
                </c:pt>
                <c:pt idx="2962">
                  <c:v>-2.0285731263396778E-2</c:v>
                </c:pt>
                <c:pt idx="2963">
                  <c:v>-2.0646297096918446E-2</c:v>
                </c:pt>
                <c:pt idx="2964">
                  <c:v>-2.105591689752935E-2</c:v>
                </c:pt>
                <c:pt idx="2965">
                  <c:v>-2.1275063239433567E-2</c:v>
                </c:pt>
                <c:pt idx="2966">
                  <c:v>-2.1488004894532002E-2</c:v>
                </c:pt>
                <c:pt idx="2967">
                  <c:v>-2.1762828818890068E-2</c:v>
                </c:pt>
                <c:pt idx="2968">
                  <c:v>-2.0541008380833135E-2</c:v>
                </c:pt>
                <c:pt idx="2969">
                  <c:v>-1.9534427201695865E-2</c:v>
                </c:pt>
                <c:pt idx="2970">
                  <c:v>-1.8603768689612263E-2</c:v>
                </c:pt>
                <c:pt idx="2971">
                  <c:v>-1.8230780143007205E-2</c:v>
                </c:pt>
                <c:pt idx="2972">
                  <c:v>-1.7681684417035465E-2</c:v>
                </c:pt>
                <c:pt idx="2973">
                  <c:v>-1.69399950251298E-2</c:v>
                </c:pt>
                <c:pt idx="2974">
                  <c:v>-1.6494809531677961E-2</c:v>
                </c:pt>
                <c:pt idx="2975">
                  <c:v>-1.6402482564691873E-2</c:v>
                </c:pt>
                <c:pt idx="2976">
                  <c:v>-1.6293138924497665E-2</c:v>
                </c:pt>
                <c:pt idx="2977">
                  <c:v>-1.6557568876087347E-2</c:v>
                </c:pt>
                <c:pt idx="2978">
                  <c:v>-1.7130372012266915E-2</c:v>
                </c:pt>
                <c:pt idx="2979">
                  <c:v>-1.7851135848121112E-2</c:v>
                </c:pt>
                <c:pt idx="2980">
                  <c:v>-1.8510518780982387E-2</c:v>
                </c:pt>
                <c:pt idx="2981">
                  <c:v>-1.860731893537582E-2</c:v>
                </c:pt>
                <c:pt idx="2982">
                  <c:v>-1.8642587823188207E-2</c:v>
                </c:pt>
                <c:pt idx="2983">
                  <c:v>-1.844575441894597E-2</c:v>
                </c:pt>
                <c:pt idx="2984">
                  <c:v>-1.813542099449009E-2</c:v>
                </c:pt>
                <c:pt idx="2985">
                  <c:v>-1.7857661122888689E-2</c:v>
                </c:pt>
                <c:pt idx="2986">
                  <c:v>-1.7483457640785363E-2</c:v>
                </c:pt>
                <c:pt idx="2987">
                  <c:v>-1.7292590442022887E-2</c:v>
                </c:pt>
                <c:pt idx="2988">
                  <c:v>-1.7261110979315111E-2</c:v>
                </c:pt>
                <c:pt idx="2989">
                  <c:v>-1.7554724998048613E-2</c:v>
                </c:pt>
                <c:pt idx="2990">
                  <c:v>-1.7827736610745132E-2</c:v>
                </c:pt>
                <c:pt idx="2991">
                  <c:v>-1.7956503969600364E-2</c:v>
                </c:pt>
                <c:pt idx="2992">
                  <c:v>-1.8059326358768224E-2</c:v>
                </c:pt>
                <c:pt idx="2993">
                  <c:v>-1.7698158620946897E-2</c:v>
                </c:pt>
                <c:pt idx="2994">
                  <c:v>-1.7738358111799191E-2</c:v>
                </c:pt>
                <c:pt idx="2995">
                  <c:v>-1.7818487807582294E-2</c:v>
                </c:pt>
                <c:pt idx="2996">
                  <c:v>-1.7820840261685313E-2</c:v>
                </c:pt>
                <c:pt idx="2997">
                  <c:v>-1.7421186960761344E-2</c:v>
                </c:pt>
                <c:pt idx="2998">
                  <c:v>-1.793264414382021E-2</c:v>
                </c:pt>
                <c:pt idx="2999">
                  <c:v>-1.8574207146523535E-2</c:v>
                </c:pt>
                <c:pt idx="3000">
                  <c:v>-1.9054000845660102E-2</c:v>
                </c:pt>
                <c:pt idx="3001">
                  <c:v>-1.8657938005443846E-2</c:v>
                </c:pt>
                <c:pt idx="3002">
                  <c:v>-1.8760032706442262E-2</c:v>
                </c:pt>
                <c:pt idx="3003">
                  <c:v>-1.9065948531091038E-2</c:v>
                </c:pt>
                <c:pt idx="3004">
                  <c:v>-1.9271224210069087E-2</c:v>
                </c:pt>
                <c:pt idx="3005">
                  <c:v>-1.8260120347395339E-2</c:v>
                </c:pt>
                <c:pt idx="3006">
                  <c:v>-1.7946239673110962E-2</c:v>
                </c:pt>
                <c:pt idx="3007">
                  <c:v>-1.7473172995911321E-2</c:v>
                </c:pt>
                <c:pt idx="3008">
                  <c:v>-1.6834773817809824E-2</c:v>
                </c:pt>
                <c:pt idx="3009">
                  <c:v>-1.5714868739978224E-2</c:v>
                </c:pt>
                <c:pt idx="3010">
                  <c:v>-1.4398056203011243E-2</c:v>
                </c:pt>
                <c:pt idx="3011">
                  <c:v>-1.3254639746120751E-2</c:v>
                </c:pt>
                <c:pt idx="3012">
                  <c:v>-1.1961902628683295E-2</c:v>
                </c:pt>
                <c:pt idx="3013">
                  <c:v>-1.0916861453662968E-2</c:v>
                </c:pt>
                <c:pt idx="3014">
                  <c:v>-9.9934024645837467E-3</c:v>
                </c:pt>
                <c:pt idx="3015">
                  <c:v>-9.4915561970690988E-3</c:v>
                </c:pt>
                <c:pt idx="3016">
                  <c:v>-1.0161962200380507E-2</c:v>
                </c:pt>
                <c:pt idx="3017">
                  <c:v>-1.130087768772221E-2</c:v>
                </c:pt>
                <c:pt idx="3018">
                  <c:v>-1.2076499490816628E-2</c:v>
                </c:pt>
                <c:pt idx="3019">
                  <c:v>-1.2011337037998291E-2</c:v>
                </c:pt>
                <c:pt idx="3020">
                  <c:v>-1.2035374589514352E-2</c:v>
                </c:pt>
                <c:pt idx="3021">
                  <c:v>-1.2044896966896836E-2</c:v>
                </c:pt>
                <c:pt idx="3022">
                  <c:v>-1.2000568772617806E-2</c:v>
                </c:pt>
                <c:pt idx="3023">
                  <c:v>-1.2310150506356886E-2</c:v>
                </c:pt>
                <c:pt idx="3024">
                  <c:v>-1.2213609324438289E-2</c:v>
                </c:pt>
                <c:pt idx="3025">
                  <c:v>-1.2107047063775358E-2</c:v>
                </c:pt>
                <c:pt idx="3026">
                  <c:v>-1.2067787030770639E-2</c:v>
                </c:pt>
                <c:pt idx="3027">
                  <c:v>-1.2297473902694905E-2</c:v>
                </c:pt>
                <c:pt idx="3028">
                  <c:v>-1.269466876896681E-2</c:v>
                </c:pt>
                <c:pt idx="3029">
                  <c:v>-1.3346806027155055E-2</c:v>
                </c:pt>
                <c:pt idx="3030">
                  <c:v>-1.4503696398495358E-2</c:v>
                </c:pt>
                <c:pt idx="3031">
                  <c:v>-1.6168721478301624E-2</c:v>
                </c:pt>
                <c:pt idx="3032">
                  <c:v>-1.7431771231108076E-2</c:v>
                </c:pt>
                <c:pt idx="3033">
                  <c:v>-1.7448299886038132E-2</c:v>
                </c:pt>
                <c:pt idx="3034">
                  <c:v>-1.7486109308334406E-2</c:v>
                </c:pt>
                <c:pt idx="3035">
                  <c:v>-1.8993348653838282E-2</c:v>
                </c:pt>
                <c:pt idx="3036">
                  <c:v>-1.9428065186698297E-2</c:v>
                </c:pt>
                <c:pt idx="3037">
                  <c:v>-1.9787534291687531E-2</c:v>
                </c:pt>
                <c:pt idx="3038">
                  <c:v>-2.0324697229088771E-2</c:v>
                </c:pt>
                <c:pt idx="3039">
                  <c:v>-2.080315423319426E-2</c:v>
                </c:pt>
                <c:pt idx="3040">
                  <c:v>-2.0502313914218674E-2</c:v>
                </c:pt>
                <c:pt idx="3041">
                  <c:v>-1.9723746093263668E-2</c:v>
                </c:pt>
                <c:pt idx="3042">
                  <c:v>-1.91422577521814E-2</c:v>
                </c:pt>
                <c:pt idx="3043">
                  <c:v>-1.8767270862795168E-2</c:v>
                </c:pt>
                <c:pt idx="3044">
                  <c:v>-1.8710798172131345E-2</c:v>
                </c:pt>
                <c:pt idx="3045">
                  <c:v>-1.8707906441070836E-2</c:v>
                </c:pt>
                <c:pt idx="3046">
                  <c:v>-1.8636886639301783E-2</c:v>
                </c:pt>
                <c:pt idx="3047">
                  <c:v>-1.8418128185345668E-2</c:v>
                </c:pt>
                <c:pt idx="3048">
                  <c:v>-1.8150307394856662E-2</c:v>
                </c:pt>
                <c:pt idx="3049">
                  <c:v>-1.8013898086895578E-2</c:v>
                </c:pt>
                <c:pt idx="3050">
                  <c:v>-1.7577209800521056E-2</c:v>
                </c:pt>
                <c:pt idx="3051">
                  <c:v>-1.7096399585851522E-2</c:v>
                </c:pt>
                <c:pt idx="3052">
                  <c:v>-1.6668395249844443E-2</c:v>
                </c:pt>
                <c:pt idx="3053">
                  <c:v>-1.6188522238799539E-2</c:v>
                </c:pt>
                <c:pt idx="3054">
                  <c:v>-1.5756696336193764E-2</c:v>
                </c:pt>
                <c:pt idx="3055">
                  <c:v>-1.5377673929777989E-2</c:v>
                </c:pt>
                <c:pt idx="3056">
                  <c:v>-1.5086040518426734E-2</c:v>
                </c:pt>
                <c:pt idx="3057">
                  <c:v>-1.5020683109671903E-2</c:v>
                </c:pt>
                <c:pt idx="3058">
                  <c:v>-1.5258921746718321E-2</c:v>
                </c:pt>
                <c:pt idx="3059">
                  <c:v>-1.5435866904662993E-2</c:v>
                </c:pt>
                <c:pt idx="3060">
                  <c:v>-1.5429965884726279E-2</c:v>
                </c:pt>
                <c:pt idx="3061">
                  <c:v>-1.5239248215763588E-2</c:v>
                </c:pt>
                <c:pt idx="3062">
                  <c:v>-1.5201414064086448E-2</c:v>
                </c:pt>
                <c:pt idx="3063">
                  <c:v>-1.5360089957406628E-2</c:v>
                </c:pt>
                <c:pt idx="3064">
                  <c:v>-1.5795251368939889E-2</c:v>
                </c:pt>
                <c:pt idx="3065">
                  <c:v>-1.6093613010132263E-2</c:v>
                </c:pt>
                <c:pt idx="3066">
                  <c:v>-1.6291126930605151E-2</c:v>
                </c:pt>
                <c:pt idx="3067">
                  <c:v>-1.6581824437431832E-2</c:v>
                </c:pt>
                <c:pt idx="3068">
                  <c:v>-1.6849134432010734E-2</c:v>
                </c:pt>
                <c:pt idx="3069">
                  <c:v>-1.7071034267469736E-2</c:v>
                </c:pt>
                <c:pt idx="3070">
                  <c:v>-1.7906962673320891E-2</c:v>
                </c:pt>
                <c:pt idx="3071">
                  <c:v>-1.8867075673872354E-2</c:v>
                </c:pt>
                <c:pt idx="3072">
                  <c:v>-1.9991145999854108E-2</c:v>
                </c:pt>
                <c:pt idx="3073">
                  <c:v>-2.0855272083477351E-2</c:v>
                </c:pt>
                <c:pt idx="3074">
                  <c:v>-2.1768300010508418E-2</c:v>
                </c:pt>
                <c:pt idx="3075">
                  <c:v>-2.2513487752661279E-2</c:v>
                </c:pt>
                <c:pt idx="3076">
                  <c:v>-2.3117033135631619E-2</c:v>
                </c:pt>
                <c:pt idx="3077">
                  <c:v>-2.3369407595077402E-2</c:v>
                </c:pt>
                <c:pt idx="3078">
                  <c:v>-2.3570661772123691E-2</c:v>
                </c:pt>
                <c:pt idx="3079">
                  <c:v>-2.3649855655037591E-2</c:v>
                </c:pt>
                <c:pt idx="3080">
                  <c:v>-2.3552581156657485E-2</c:v>
                </c:pt>
                <c:pt idx="3081">
                  <c:v>-2.3271138143730774E-2</c:v>
                </c:pt>
                <c:pt idx="3082">
                  <c:v>-2.2873702120464579E-2</c:v>
                </c:pt>
                <c:pt idx="3083">
                  <c:v>-2.247541040299127E-2</c:v>
                </c:pt>
                <c:pt idx="3084">
                  <c:v>-2.2256305301050855E-2</c:v>
                </c:pt>
                <c:pt idx="3085">
                  <c:v>-2.2066338099116019E-2</c:v>
                </c:pt>
                <c:pt idx="3086">
                  <c:v>-2.1656088107594104E-2</c:v>
                </c:pt>
                <c:pt idx="3087">
                  <c:v>-2.0841242106792619E-2</c:v>
                </c:pt>
                <c:pt idx="3088">
                  <c:v>-1.9635476636912133E-2</c:v>
                </c:pt>
                <c:pt idx="3089">
                  <c:v>-1.8150276287362849E-2</c:v>
                </c:pt>
                <c:pt idx="3090">
                  <c:v>-1.7001228786746418E-2</c:v>
                </c:pt>
                <c:pt idx="3091">
                  <c:v>-1.6584425873232486E-2</c:v>
                </c:pt>
                <c:pt idx="3092">
                  <c:v>-1.6542770597383467E-2</c:v>
                </c:pt>
                <c:pt idx="3093">
                  <c:v>-1.6515730790121027E-2</c:v>
                </c:pt>
                <c:pt idx="3094">
                  <c:v>-1.6452223207715021E-2</c:v>
                </c:pt>
                <c:pt idx="3095">
                  <c:v>-1.646473380911731E-2</c:v>
                </c:pt>
                <c:pt idx="3096">
                  <c:v>-1.6450629228496834E-2</c:v>
                </c:pt>
                <c:pt idx="3097">
                  <c:v>-1.6521052611691945E-2</c:v>
                </c:pt>
                <c:pt idx="3098">
                  <c:v>-1.6489901592943099E-2</c:v>
                </c:pt>
                <c:pt idx="3099">
                  <c:v>-1.6571935654373253E-2</c:v>
                </c:pt>
                <c:pt idx="3100">
                  <c:v>-1.6706391865298105E-2</c:v>
                </c:pt>
                <c:pt idx="3101">
                  <c:v>-1.7084641174478048E-2</c:v>
                </c:pt>
                <c:pt idx="3102">
                  <c:v>-1.6665336489279162E-2</c:v>
                </c:pt>
                <c:pt idx="3103">
                  <c:v>-1.6302019575320438E-2</c:v>
                </c:pt>
                <c:pt idx="3104">
                  <c:v>-1.6255821135769784E-2</c:v>
                </c:pt>
                <c:pt idx="3105">
                  <c:v>-1.6766496048866826E-2</c:v>
                </c:pt>
                <c:pt idx="3106">
                  <c:v>-1.7574541532226047E-2</c:v>
                </c:pt>
                <c:pt idx="3107">
                  <c:v>-1.7714042350987988E-2</c:v>
                </c:pt>
                <c:pt idx="3108">
                  <c:v>-1.8161931407403326E-2</c:v>
                </c:pt>
                <c:pt idx="3109">
                  <c:v>-1.8501760453834049E-2</c:v>
                </c:pt>
                <c:pt idx="3110">
                  <c:v>-1.8805518213240151E-2</c:v>
                </c:pt>
                <c:pt idx="3111">
                  <c:v>-1.8942788132133855E-2</c:v>
                </c:pt>
                <c:pt idx="3112">
                  <c:v>-1.8972856995223147E-2</c:v>
                </c:pt>
                <c:pt idx="3113">
                  <c:v>-1.9121288833897597E-2</c:v>
                </c:pt>
                <c:pt idx="3114">
                  <c:v>-1.9348179995910889E-2</c:v>
                </c:pt>
                <c:pt idx="3115">
                  <c:v>-1.9580447433950991E-2</c:v>
                </c:pt>
                <c:pt idx="3116">
                  <c:v>-1.9751875824951338E-2</c:v>
                </c:pt>
                <c:pt idx="3117">
                  <c:v>-1.9888406675597728E-2</c:v>
                </c:pt>
                <c:pt idx="3118">
                  <c:v>-2.0041782993263469E-2</c:v>
                </c:pt>
                <c:pt idx="3119">
                  <c:v>-2.0301724726197505E-2</c:v>
                </c:pt>
                <c:pt idx="3120">
                  <c:v>-2.0448948451132959E-2</c:v>
                </c:pt>
                <c:pt idx="3121">
                  <c:v>-2.051922034749374E-2</c:v>
                </c:pt>
                <c:pt idx="3122">
                  <c:v>-2.049455592575768E-2</c:v>
                </c:pt>
                <c:pt idx="3123">
                  <c:v>-2.0547549286557158E-2</c:v>
                </c:pt>
                <c:pt idx="3124">
                  <c:v>-2.0646216506029998E-2</c:v>
                </c:pt>
                <c:pt idx="3125">
                  <c:v>-2.0619106129318825E-2</c:v>
                </c:pt>
                <c:pt idx="3126">
                  <c:v>-2.0610926967283328E-2</c:v>
                </c:pt>
                <c:pt idx="3127">
                  <c:v>-2.0554423482904469E-2</c:v>
                </c:pt>
                <c:pt idx="3128">
                  <c:v>-2.081619949722021E-2</c:v>
                </c:pt>
                <c:pt idx="3129">
                  <c:v>-2.1134842070549262E-2</c:v>
                </c:pt>
                <c:pt idx="3130">
                  <c:v>-2.1435265651874889E-2</c:v>
                </c:pt>
                <c:pt idx="3131">
                  <c:v>-2.1498398073508909E-2</c:v>
                </c:pt>
                <c:pt idx="3132">
                  <c:v>-2.1996439192714604E-2</c:v>
                </c:pt>
                <c:pt idx="3133">
                  <c:v>-2.263696599450532E-2</c:v>
                </c:pt>
                <c:pt idx="3134">
                  <c:v>-2.3237213469410212E-2</c:v>
                </c:pt>
                <c:pt idx="3135">
                  <c:v>-2.3435801941862448E-2</c:v>
                </c:pt>
                <c:pt idx="3136">
                  <c:v>-2.3314968818305609E-2</c:v>
                </c:pt>
                <c:pt idx="3137">
                  <c:v>-2.3370227894489597E-2</c:v>
                </c:pt>
                <c:pt idx="3138">
                  <c:v>-2.278235532419539E-2</c:v>
                </c:pt>
                <c:pt idx="3139">
                  <c:v>-2.2873644176649395E-2</c:v>
                </c:pt>
                <c:pt idx="3140">
                  <c:v>-2.2979263955219278E-2</c:v>
                </c:pt>
                <c:pt idx="3141">
                  <c:v>-2.3220100384563791E-2</c:v>
                </c:pt>
                <c:pt idx="3142">
                  <c:v>-2.3329973215073602E-2</c:v>
                </c:pt>
                <c:pt idx="3143">
                  <c:v>-2.2973843257422098E-2</c:v>
                </c:pt>
                <c:pt idx="3144">
                  <c:v>-2.2133051959854155E-2</c:v>
                </c:pt>
                <c:pt idx="3145">
                  <c:v>-2.1848053543107818E-2</c:v>
                </c:pt>
                <c:pt idx="3146">
                  <c:v>-2.1810785392268654E-2</c:v>
                </c:pt>
                <c:pt idx="3147">
                  <c:v>-2.1856053373946596E-2</c:v>
                </c:pt>
                <c:pt idx="3148">
                  <c:v>-2.1655423907537372E-2</c:v>
                </c:pt>
                <c:pt idx="3149">
                  <c:v>-2.1533899045172073E-2</c:v>
                </c:pt>
                <c:pt idx="3150">
                  <c:v>-2.1260310633374038E-2</c:v>
                </c:pt>
                <c:pt idx="3151">
                  <c:v>-2.0935476229964979E-2</c:v>
                </c:pt>
                <c:pt idx="3152">
                  <c:v>-2.0577596258003549E-2</c:v>
                </c:pt>
                <c:pt idx="3153">
                  <c:v>-2.0270707856569911E-2</c:v>
                </c:pt>
                <c:pt idx="3154">
                  <c:v>-2.0028950012609952E-2</c:v>
                </c:pt>
                <c:pt idx="3155">
                  <c:v>-1.9740257120210169E-2</c:v>
                </c:pt>
                <c:pt idx="3156">
                  <c:v>-1.9515722007845307E-2</c:v>
                </c:pt>
                <c:pt idx="3157">
                  <c:v>-1.935334050190048E-2</c:v>
                </c:pt>
                <c:pt idx="3158">
                  <c:v>-1.8918329124658705E-2</c:v>
                </c:pt>
                <c:pt idx="3159">
                  <c:v>-1.8554767516479179E-2</c:v>
                </c:pt>
                <c:pt idx="3160">
                  <c:v>-1.8185555262858255E-2</c:v>
                </c:pt>
                <c:pt idx="3161">
                  <c:v>-1.8406070930099529E-2</c:v>
                </c:pt>
                <c:pt idx="3162">
                  <c:v>-1.8779305321842608E-2</c:v>
                </c:pt>
                <c:pt idx="3163">
                  <c:v>-1.9113468151694107E-2</c:v>
                </c:pt>
                <c:pt idx="3164">
                  <c:v>-1.9319465371057953E-2</c:v>
                </c:pt>
                <c:pt idx="3165">
                  <c:v>-1.9562720985779665E-2</c:v>
                </c:pt>
                <c:pt idx="3166">
                  <c:v>-1.9697794943195276E-2</c:v>
                </c:pt>
                <c:pt idx="3167">
                  <c:v>-1.9723150198697526E-2</c:v>
                </c:pt>
                <c:pt idx="3168">
                  <c:v>-1.985302864758056E-2</c:v>
                </c:pt>
                <c:pt idx="3169">
                  <c:v>-1.9706380639671339E-2</c:v>
                </c:pt>
                <c:pt idx="3170">
                  <c:v>-1.9590426941147442E-2</c:v>
                </c:pt>
                <c:pt idx="3171">
                  <c:v>-1.9486670233529242E-2</c:v>
                </c:pt>
                <c:pt idx="3172">
                  <c:v>-1.9530811955844558E-2</c:v>
                </c:pt>
                <c:pt idx="3173">
                  <c:v>-2.0179567011481804E-2</c:v>
                </c:pt>
                <c:pt idx="3174">
                  <c:v>-2.1561926242596535E-2</c:v>
                </c:pt>
                <c:pt idx="3175">
                  <c:v>-2.2183353322321915E-2</c:v>
                </c:pt>
                <c:pt idx="3176">
                  <c:v>-2.2716062014002676E-2</c:v>
                </c:pt>
                <c:pt idx="3177">
                  <c:v>-2.2918792131976753E-2</c:v>
                </c:pt>
                <c:pt idx="3178">
                  <c:v>-2.1875773438920353E-2</c:v>
                </c:pt>
                <c:pt idx="3179">
                  <c:v>-2.2095774759257555E-2</c:v>
                </c:pt>
                <c:pt idx="3180">
                  <c:v>-2.2453845565703619E-2</c:v>
                </c:pt>
                <c:pt idx="3181">
                  <c:v>-2.2016585085077513E-2</c:v>
                </c:pt>
                <c:pt idx="3182">
                  <c:v>-2.0802863866342586E-2</c:v>
                </c:pt>
                <c:pt idx="3183">
                  <c:v>-1.9914784533917311E-2</c:v>
                </c:pt>
                <c:pt idx="3184">
                  <c:v>-1.9245936196412895E-2</c:v>
                </c:pt>
                <c:pt idx="3185">
                  <c:v>-1.88807507010064E-2</c:v>
                </c:pt>
                <c:pt idx="3186">
                  <c:v>-1.8777717266914334E-2</c:v>
                </c:pt>
                <c:pt idx="3187">
                  <c:v>-1.9094720590130163E-2</c:v>
                </c:pt>
                <c:pt idx="3188">
                  <c:v>-1.9325159396125627E-2</c:v>
                </c:pt>
                <c:pt idx="3189">
                  <c:v>-1.9347861194155755E-2</c:v>
                </c:pt>
                <c:pt idx="3190">
                  <c:v>-1.9167850966209592E-2</c:v>
                </c:pt>
                <c:pt idx="3191">
                  <c:v>-1.8630172056977305E-2</c:v>
                </c:pt>
                <c:pt idx="3192">
                  <c:v>-1.7958097142701138E-2</c:v>
                </c:pt>
                <c:pt idx="3193">
                  <c:v>-1.7302176829831893E-2</c:v>
                </c:pt>
                <c:pt idx="3194">
                  <c:v>-1.6804203398995188E-2</c:v>
                </c:pt>
                <c:pt idx="3195">
                  <c:v>-1.6383643698143255E-2</c:v>
                </c:pt>
                <c:pt idx="3196">
                  <c:v>-1.6114216489737813E-2</c:v>
                </c:pt>
                <c:pt idx="3197">
                  <c:v>-1.5910204266985112E-2</c:v>
                </c:pt>
                <c:pt idx="3198">
                  <c:v>-1.5967573673708643E-2</c:v>
                </c:pt>
                <c:pt idx="3199">
                  <c:v>-1.597400569928192E-2</c:v>
                </c:pt>
                <c:pt idx="3200">
                  <c:v>-1.600879427624996E-2</c:v>
                </c:pt>
                <c:pt idx="3201">
                  <c:v>-1.6066464470630246E-2</c:v>
                </c:pt>
                <c:pt idx="3202">
                  <c:v>-1.6154677989413245E-2</c:v>
                </c:pt>
                <c:pt idx="3203">
                  <c:v>-1.6539205003328401E-2</c:v>
                </c:pt>
                <c:pt idx="3204">
                  <c:v>-1.69154381270945E-2</c:v>
                </c:pt>
                <c:pt idx="3205">
                  <c:v>-1.7212766516618086E-2</c:v>
                </c:pt>
                <c:pt idx="3206">
                  <c:v>-1.7038475888416796E-2</c:v>
                </c:pt>
                <c:pt idx="3207">
                  <c:v>-1.6683319384274385E-2</c:v>
                </c:pt>
                <c:pt idx="3208">
                  <c:v>-1.6415233579771073E-2</c:v>
                </c:pt>
                <c:pt idx="3209">
                  <c:v>-1.5453052126024292E-2</c:v>
                </c:pt>
                <c:pt idx="3210">
                  <c:v>-1.4522619037005483E-2</c:v>
                </c:pt>
                <c:pt idx="3211">
                  <c:v>-1.4124786152209667E-2</c:v>
                </c:pt>
                <c:pt idx="3212">
                  <c:v>-1.485286718620832E-2</c:v>
                </c:pt>
                <c:pt idx="3213">
                  <c:v>-1.5932917090875881E-2</c:v>
                </c:pt>
                <c:pt idx="3214">
                  <c:v>-1.7229378288351534E-2</c:v>
                </c:pt>
                <c:pt idx="3215">
                  <c:v>-1.8365978846551348E-2</c:v>
                </c:pt>
                <c:pt idx="3216">
                  <c:v>-1.9262285244000851E-2</c:v>
                </c:pt>
                <c:pt idx="3217">
                  <c:v>-1.849938159994163E-2</c:v>
                </c:pt>
                <c:pt idx="3218">
                  <c:v>-1.7090116682945654E-2</c:v>
                </c:pt>
                <c:pt idx="3219">
                  <c:v>-1.6359853874462257E-2</c:v>
                </c:pt>
                <c:pt idx="3220">
                  <c:v>-1.609027437113783E-2</c:v>
                </c:pt>
                <c:pt idx="3221">
                  <c:v>-1.511823486933374E-2</c:v>
                </c:pt>
                <c:pt idx="3222">
                  <c:v>-1.5247560422661992E-2</c:v>
                </c:pt>
                <c:pt idx="3223">
                  <c:v>-1.5399747883009287E-2</c:v>
                </c:pt>
                <c:pt idx="3224">
                  <c:v>-1.5391836847772802E-2</c:v>
                </c:pt>
                <c:pt idx="3225">
                  <c:v>-1.5308402631484185E-2</c:v>
                </c:pt>
                <c:pt idx="3226">
                  <c:v>-1.5243892404346501E-2</c:v>
                </c:pt>
                <c:pt idx="3227">
                  <c:v>-1.530032040626105E-2</c:v>
                </c:pt>
                <c:pt idx="3228">
                  <c:v>-1.588113562855157E-2</c:v>
                </c:pt>
                <c:pt idx="3229">
                  <c:v>-1.6719351135843386E-2</c:v>
                </c:pt>
                <c:pt idx="3230">
                  <c:v>-1.7514038371008213E-2</c:v>
                </c:pt>
                <c:pt idx="3231">
                  <c:v>-1.7107073178834975E-2</c:v>
                </c:pt>
                <c:pt idx="3232">
                  <c:v>-1.7718234340448009E-2</c:v>
                </c:pt>
                <c:pt idx="3233">
                  <c:v>-1.8017362013750839E-2</c:v>
                </c:pt>
                <c:pt idx="3234">
                  <c:v>-1.8368810363007811E-2</c:v>
                </c:pt>
                <c:pt idx="3235">
                  <c:v>-1.8598755029375455E-2</c:v>
                </c:pt>
                <c:pt idx="3236">
                  <c:v>-1.8719627649070571E-2</c:v>
                </c:pt>
                <c:pt idx="3237">
                  <c:v>-1.8648635144684615E-2</c:v>
                </c:pt>
                <c:pt idx="3238">
                  <c:v>-1.8516523065009425E-2</c:v>
                </c:pt>
                <c:pt idx="3239">
                  <c:v>-1.8623639994912823E-2</c:v>
                </c:pt>
                <c:pt idx="3240">
                  <c:v>-1.8759578899333322E-2</c:v>
                </c:pt>
                <c:pt idx="3241">
                  <c:v>-1.8759748425359574E-2</c:v>
                </c:pt>
                <c:pt idx="3242">
                  <c:v>-1.8589764808648608E-2</c:v>
                </c:pt>
                <c:pt idx="3243">
                  <c:v>-1.868001451038924E-2</c:v>
                </c:pt>
                <c:pt idx="3244">
                  <c:v>-1.8771988493394447E-2</c:v>
                </c:pt>
                <c:pt idx="3245">
                  <c:v>-1.8225097014534959E-2</c:v>
                </c:pt>
                <c:pt idx="3246">
                  <c:v>-1.7332447016472595E-2</c:v>
                </c:pt>
                <c:pt idx="3247">
                  <c:v>-1.6645237758473208E-2</c:v>
                </c:pt>
                <c:pt idx="3248">
                  <c:v>-1.6319479067882975E-2</c:v>
                </c:pt>
                <c:pt idx="3249">
                  <c:v>-1.5840826387823546E-2</c:v>
                </c:pt>
                <c:pt idx="3250">
                  <c:v>-1.563032591667507E-2</c:v>
                </c:pt>
                <c:pt idx="3251">
                  <c:v>-1.5561127830053775E-2</c:v>
                </c:pt>
                <c:pt idx="3252">
                  <c:v>-1.5126206019177456E-2</c:v>
                </c:pt>
                <c:pt idx="3253">
                  <c:v>-1.4658231505044342E-2</c:v>
                </c:pt>
                <c:pt idx="3254">
                  <c:v>-1.4327428771133384E-2</c:v>
                </c:pt>
                <c:pt idx="3255">
                  <c:v>-1.4164902174025272E-2</c:v>
                </c:pt>
                <c:pt idx="3256">
                  <c:v>-1.4034671322759259E-2</c:v>
                </c:pt>
                <c:pt idx="3257">
                  <c:v>-1.4040567468235107E-2</c:v>
                </c:pt>
                <c:pt idx="3258">
                  <c:v>-1.4105601551897535E-2</c:v>
                </c:pt>
                <c:pt idx="3259">
                  <c:v>-1.4094859217943834E-2</c:v>
                </c:pt>
                <c:pt idx="3260">
                  <c:v>-1.4142225603506134E-2</c:v>
                </c:pt>
                <c:pt idx="3261">
                  <c:v>-1.4308153062727253E-2</c:v>
                </c:pt>
                <c:pt idx="3262">
                  <c:v>-1.4233151632665995E-2</c:v>
                </c:pt>
                <c:pt idx="3263">
                  <c:v>-1.4611332016632044E-2</c:v>
                </c:pt>
                <c:pt idx="3264">
                  <c:v>-1.5090625699589872E-2</c:v>
                </c:pt>
                <c:pt idx="3265">
                  <c:v>-1.3836466069639614E-2</c:v>
                </c:pt>
                <c:pt idx="3266">
                  <c:v>-1.3037168132896347E-2</c:v>
                </c:pt>
                <c:pt idx="3267">
                  <c:v>-1.2440123408604651E-2</c:v>
                </c:pt>
                <c:pt idx="3268">
                  <c:v>-1.2115100267606115E-2</c:v>
                </c:pt>
                <c:pt idx="3269">
                  <c:v>-1.1797134922571765E-2</c:v>
                </c:pt>
                <c:pt idx="3270">
                  <c:v>-1.1657929141593852E-2</c:v>
                </c:pt>
                <c:pt idx="3271">
                  <c:v>-1.1603076784686823E-2</c:v>
                </c:pt>
                <c:pt idx="3272">
                  <c:v>-1.1305127692299756E-2</c:v>
                </c:pt>
                <c:pt idx="3273">
                  <c:v>-1.0129248729258199E-2</c:v>
                </c:pt>
                <c:pt idx="3274">
                  <c:v>-8.7683012363163459E-3</c:v>
                </c:pt>
                <c:pt idx="3275">
                  <c:v>-7.3903694565061072E-3</c:v>
                </c:pt>
                <c:pt idx="3276">
                  <c:v>-7.0855709280224621E-3</c:v>
                </c:pt>
                <c:pt idx="3277">
                  <c:v>-8.292784329537636E-3</c:v>
                </c:pt>
                <c:pt idx="3278">
                  <c:v>-9.8083144697629684E-3</c:v>
                </c:pt>
                <c:pt idx="3279">
                  <c:v>-1.2295622974239919E-2</c:v>
                </c:pt>
                <c:pt idx="3280">
                  <c:v>-1.4433929439877927E-2</c:v>
                </c:pt>
                <c:pt idx="3281">
                  <c:v>-1.4913455778611868E-2</c:v>
                </c:pt>
                <c:pt idx="3282">
                  <c:v>-1.4890129726285438E-2</c:v>
                </c:pt>
                <c:pt idx="3283">
                  <c:v>-1.455043846406554E-2</c:v>
                </c:pt>
                <c:pt idx="3284">
                  <c:v>-1.4425506983778596E-2</c:v>
                </c:pt>
                <c:pt idx="3285">
                  <c:v>-1.4159165151455648E-2</c:v>
                </c:pt>
                <c:pt idx="3286">
                  <c:v>-1.3922060895580705E-2</c:v>
                </c:pt>
                <c:pt idx="3287">
                  <c:v>-1.3802306576303063E-2</c:v>
                </c:pt>
                <c:pt idx="3288">
                  <c:v>-1.3369347470250047E-2</c:v>
                </c:pt>
                <c:pt idx="3289">
                  <c:v>-1.3363410284679441E-2</c:v>
                </c:pt>
                <c:pt idx="3290">
                  <c:v>-1.3517444870916754E-2</c:v>
                </c:pt>
                <c:pt idx="3291">
                  <c:v>-1.3702495313420306E-2</c:v>
                </c:pt>
                <c:pt idx="3292">
                  <c:v>-1.3683832398334771E-2</c:v>
                </c:pt>
                <c:pt idx="3293">
                  <c:v>-1.3246079951897E-2</c:v>
                </c:pt>
                <c:pt idx="3294">
                  <c:v>-1.2587388451332004E-2</c:v>
                </c:pt>
                <c:pt idx="3295">
                  <c:v>-1.3160919773831171E-2</c:v>
                </c:pt>
                <c:pt idx="3296">
                  <c:v>-1.3649974097037131E-2</c:v>
                </c:pt>
                <c:pt idx="3297">
                  <c:v>-1.4182242833480225E-2</c:v>
                </c:pt>
                <c:pt idx="3298">
                  <c:v>-1.4536437523494108E-2</c:v>
                </c:pt>
                <c:pt idx="3299">
                  <c:v>-1.4935777608390302E-2</c:v>
                </c:pt>
                <c:pt idx="3300">
                  <c:v>-1.5156915159557914E-2</c:v>
                </c:pt>
                <c:pt idx="3301">
                  <c:v>-1.5181048952928501E-2</c:v>
                </c:pt>
                <c:pt idx="3302">
                  <c:v>-1.5152049514018742E-2</c:v>
                </c:pt>
                <c:pt idx="3303">
                  <c:v>-1.4941748388497137E-2</c:v>
                </c:pt>
                <c:pt idx="3304">
                  <c:v>-1.4632672744628109E-2</c:v>
                </c:pt>
                <c:pt idx="3305">
                  <c:v>-1.4052237948096579E-2</c:v>
                </c:pt>
                <c:pt idx="3306">
                  <c:v>-1.3627465474225178E-2</c:v>
                </c:pt>
                <c:pt idx="3307">
                  <c:v>-1.4250071229464128E-2</c:v>
                </c:pt>
                <c:pt idx="3308">
                  <c:v>-1.4840217707919628E-2</c:v>
                </c:pt>
                <c:pt idx="3309">
                  <c:v>-1.4845912757986744E-2</c:v>
                </c:pt>
                <c:pt idx="3310">
                  <c:v>-1.4702754314283396E-2</c:v>
                </c:pt>
                <c:pt idx="3311">
                  <c:v>-1.4722810849260474E-2</c:v>
                </c:pt>
                <c:pt idx="3312">
                  <c:v>-1.469725627244038E-2</c:v>
                </c:pt>
                <c:pt idx="3313">
                  <c:v>-1.478219417131941E-2</c:v>
                </c:pt>
                <c:pt idx="3314">
                  <c:v>-1.4825548597807003E-2</c:v>
                </c:pt>
                <c:pt idx="3315">
                  <c:v>-1.505255953748018E-2</c:v>
                </c:pt>
                <c:pt idx="3316">
                  <c:v>-1.5503005098010718E-2</c:v>
                </c:pt>
                <c:pt idx="3317">
                  <c:v>-1.6225279522694678E-2</c:v>
                </c:pt>
                <c:pt idx="3318">
                  <c:v>-1.7574086195513317E-2</c:v>
                </c:pt>
                <c:pt idx="3319">
                  <c:v>-1.8483645009822879E-2</c:v>
                </c:pt>
                <c:pt idx="3320">
                  <c:v>-1.8931650536375577E-2</c:v>
                </c:pt>
                <c:pt idx="3321">
                  <c:v>-1.9232843800895578E-2</c:v>
                </c:pt>
                <c:pt idx="3322">
                  <c:v>-1.9426159491805331E-2</c:v>
                </c:pt>
                <c:pt idx="3323">
                  <c:v>-2.0021733203179445E-2</c:v>
                </c:pt>
                <c:pt idx="3324">
                  <c:v>-2.0434383591616912E-2</c:v>
                </c:pt>
                <c:pt idx="3325">
                  <c:v>-2.0702152978499134E-2</c:v>
                </c:pt>
                <c:pt idx="3326">
                  <c:v>-2.092991360583684E-2</c:v>
                </c:pt>
                <c:pt idx="3327">
                  <c:v>-2.1030450154692761E-2</c:v>
                </c:pt>
                <c:pt idx="3328">
                  <c:v>-2.0938877443336681E-2</c:v>
                </c:pt>
                <c:pt idx="3329">
                  <c:v>-2.0879254537840244E-2</c:v>
                </c:pt>
                <c:pt idx="3330">
                  <c:v>-2.0903140030902666E-2</c:v>
                </c:pt>
                <c:pt idx="3331">
                  <c:v>-2.0944872406649953E-2</c:v>
                </c:pt>
                <c:pt idx="3332">
                  <c:v>-2.11314101451184E-2</c:v>
                </c:pt>
                <c:pt idx="3333">
                  <c:v>-2.1753776487488691E-2</c:v>
                </c:pt>
                <c:pt idx="3334">
                  <c:v>-2.2410885280563217E-2</c:v>
                </c:pt>
                <c:pt idx="3335">
                  <c:v>-2.331892944573654E-2</c:v>
                </c:pt>
                <c:pt idx="3336">
                  <c:v>-2.4251494480571331E-2</c:v>
                </c:pt>
                <c:pt idx="3337">
                  <c:v>-2.4150726137105484E-2</c:v>
                </c:pt>
                <c:pt idx="3338">
                  <c:v>-2.3882815242124739E-2</c:v>
                </c:pt>
                <c:pt idx="3339">
                  <c:v>-2.368329519430748E-2</c:v>
                </c:pt>
                <c:pt idx="3340">
                  <c:v>-2.3421559904968484E-2</c:v>
                </c:pt>
                <c:pt idx="3341">
                  <c:v>-2.3060232494660916E-2</c:v>
                </c:pt>
                <c:pt idx="3342">
                  <c:v>-2.3185426762445949E-2</c:v>
                </c:pt>
                <c:pt idx="3343">
                  <c:v>-2.3273568623451153E-2</c:v>
                </c:pt>
                <c:pt idx="3344">
                  <c:v>-2.3463270651633616E-2</c:v>
                </c:pt>
                <c:pt idx="3345">
                  <c:v>-2.3574292506371063E-2</c:v>
                </c:pt>
                <c:pt idx="3346">
                  <c:v>-2.3538676321163292E-2</c:v>
                </c:pt>
                <c:pt idx="3347">
                  <c:v>-2.3468408373006074E-2</c:v>
                </c:pt>
                <c:pt idx="3348">
                  <c:v>-2.3222363201761576E-2</c:v>
                </c:pt>
                <c:pt idx="3349">
                  <c:v>-2.3031455310247195E-2</c:v>
                </c:pt>
                <c:pt idx="3350">
                  <c:v>-2.2886657053173977E-2</c:v>
                </c:pt>
                <c:pt idx="3351">
                  <c:v>-2.2758054040648401E-2</c:v>
                </c:pt>
                <c:pt idx="3352">
                  <c:v>-2.3006952799265297E-2</c:v>
                </c:pt>
                <c:pt idx="3353">
                  <c:v>-2.3194099012881331E-2</c:v>
                </c:pt>
                <c:pt idx="3354">
                  <c:v>-2.3109832939923164E-2</c:v>
                </c:pt>
                <c:pt idx="3355">
                  <c:v>-2.2773493642586108E-2</c:v>
                </c:pt>
                <c:pt idx="3356">
                  <c:v>-2.2435023144348407E-2</c:v>
                </c:pt>
                <c:pt idx="3357">
                  <c:v>-2.2226555703824293E-2</c:v>
                </c:pt>
                <c:pt idx="3358">
                  <c:v>-2.2531795132400809E-2</c:v>
                </c:pt>
                <c:pt idx="3359">
                  <c:v>-2.2829558132247525E-2</c:v>
                </c:pt>
                <c:pt idx="3360">
                  <c:v>-2.3165496440514084E-2</c:v>
                </c:pt>
                <c:pt idx="3361">
                  <c:v>-2.3275396672583278E-2</c:v>
                </c:pt>
                <c:pt idx="3362">
                  <c:v>-2.2946027889936702E-2</c:v>
                </c:pt>
                <c:pt idx="3363">
                  <c:v>-2.2298250074196842E-2</c:v>
                </c:pt>
                <c:pt idx="3364">
                  <c:v>-2.1686326466662211E-2</c:v>
                </c:pt>
                <c:pt idx="3365">
                  <c:v>-2.1253056108647903E-2</c:v>
                </c:pt>
                <c:pt idx="3366">
                  <c:v>-2.1535344299536484E-2</c:v>
                </c:pt>
                <c:pt idx="3367">
                  <c:v>-2.1758959079979483E-2</c:v>
                </c:pt>
                <c:pt idx="3368">
                  <c:v>-2.1948898839931424E-2</c:v>
                </c:pt>
                <c:pt idx="3369">
                  <c:v>-2.1986014263967384E-2</c:v>
                </c:pt>
                <c:pt idx="3370">
                  <c:v>-2.20059616345743E-2</c:v>
                </c:pt>
                <c:pt idx="3371">
                  <c:v>-2.1966176545428068E-2</c:v>
                </c:pt>
                <c:pt idx="3372">
                  <c:v>-2.165625377492246E-2</c:v>
                </c:pt>
                <c:pt idx="3373">
                  <c:v>-2.1334867767388681E-2</c:v>
                </c:pt>
                <c:pt idx="3374">
                  <c:v>-2.1229090943564451E-2</c:v>
                </c:pt>
                <c:pt idx="3375">
                  <c:v>-2.1186261099347931E-2</c:v>
                </c:pt>
                <c:pt idx="3376">
                  <c:v>-2.1089428503750535E-2</c:v>
                </c:pt>
                <c:pt idx="3377">
                  <c:v>-2.0810928437157622E-2</c:v>
                </c:pt>
                <c:pt idx="3378">
                  <c:v>-2.0598232736131979E-2</c:v>
                </c:pt>
                <c:pt idx="3379">
                  <c:v>-2.041313702546102E-2</c:v>
                </c:pt>
                <c:pt idx="3380">
                  <c:v>-2.0164220138090674E-2</c:v>
                </c:pt>
                <c:pt idx="3381">
                  <c:v>-2.0023236757863321E-2</c:v>
                </c:pt>
                <c:pt idx="3382">
                  <c:v>-1.997953732153801E-2</c:v>
                </c:pt>
                <c:pt idx="3383">
                  <c:v>-1.9990299262346172E-2</c:v>
                </c:pt>
                <c:pt idx="3384">
                  <c:v>-2.0056064382518508E-2</c:v>
                </c:pt>
                <c:pt idx="3385">
                  <c:v>-2.0109480675410924E-2</c:v>
                </c:pt>
                <c:pt idx="3386">
                  <c:v>-2.0128631858349101E-2</c:v>
                </c:pt>
                <c:pt idx="3387">
                  <c:v>-2.0093090418015574E-2</c:v>
                </c:pt>
                <c:pt idx="3388">
                  <c:v>-1.9870741609927436E-2</c:v>
                </c:pt>
                <c:pt idx="3389">
                  <c:v>-1.9612106117978628E-2</c:v>
                </c:pt>
                <c:pt idx="3390">
                  <c:v>-1.9188522744690403E-2</c:v>
                </c:pt>
                <c:pt idx="3391">
                  <c:v>-1.8742557919218701E-2</c:v>
                </c:pt>
                <c:pt idx="3392">
                  <c:v>-1.8677826071327504E-2</c:v>
                </c:pt>
                <c:pt idx="3393">
                  <c:v>-1.8968964945269798E-2</c:v>
                </c:pt>
                <c:pt idx="3394">
                  <c:v>-1.9254628611971809E-2</c:v>
                </c:pt>
                <c:pt idx="3395">
                  <c:v>-1.9483026028161009E-2</c:v>
                </c:pt>
                <c:pt idx="3396">
                  <c:v>-1.8980302934362297E-2</c:v>
                </c:pt>
                <c:pt idx="3397">
                  <c:v>-1.8303707609825588E-2</c:v>
                </c:pt>
                <c:pt idx="3398">
                  <c:v>-1.7515298753365934E-2</c:v>
                </c:pt>
                <c:pt idx="3399">
                  <c:v>-1.6854910313527635E-2</c:v>
                </c:pt>
                <c:pt idx="3400">
                  <c:v>-1.6005038634921448E-2</c:v>
                </c:pt>
                <c:pt idx="3401">
                  <c:v>-1.580796796175889E-2</c:v>
                </c:pt>
                <c:pt idx="3402">
                  <c:v>-1.6402062898914774E-2</c:v>
                </c:pt>
                <c:pt idx="3403">
                  <c:v>-1.7093939835185503E-2</c:v>
                </c:pt>
                <c:pt idx="3404">
                  <c:v>-1.729152833067682E-2</c:v>
                </c:pt>
                <c:pt idx="3405">
                  <c:v>-1.723227469719291E-2</c:v>
                </c:pt>
                <c:pt idx="3406">
                  <c:v>-1.6888480584307967E-2</c:v>
                </c:pt>
                <c:pt idx="3407">
                  <c:v>-1.6360473776564764E-2</c:v>
                </c:pt>
                <c:pt idx="3408">
                  <c:v>-1.6213519129275853E-2</c:v>
                </c:pt>
                <c:pt idx="3409">
                  <c:v>-1.6201284184878619E-2</c:v>
                </c:pt>
                <c:pt idx="3410">
                  <c:v>-1.6074307381282522E-2</c:v>
                </c:pt>
                <c:pt idx="3411">
                  <c:v>-1.5971331009387107E-2</c:v>
                </c:pt>
                <c:pt idx="3412">
                  <c:v>-1.61436398826376E-2</c:v>
                </c:pt>
                <c:pt idx="3413">
                  <c:v>-1.6436740107536305E-2</c:v>
                </c:pt>
                <c:pt idx="3414">
                  <c:v>-1.7238124762786029E-2</c:v>
                </c:pt>
                <c:pt idx="3415">
                  <c:v>-1.8457871844609224E-2</c:v>
                </c:pt>
                <c:pt idx="3416">
                  <c:v>-1.9247934652589054E-2</c:v>
                </c:pt>
                <c:pt idx="3417">
                  <c:v>-1.9466906777438241E-2</c:v>
                </c:pt>
                <c:pt idx="3418">
                  <c:v>-1.9628168746487321E-2</c:v>
                </c:pt>
                <c:pt idx="3419">
                  <c:v>-1.9715124309651416E-2</c:v>
                </c:pt>
                <c:pt idx="3420">
                  <c:v>-1.9743721079399264E-2</c:v>
                </c:pt>
                <c:pt idx="3421">
                  <c:v>-1.979836297469147E-2</c:v>
                </c:pt>
                <c:pt idx="3422">
                  <c:v>-1.9952456449612022E-2</c:v>
                </c:pt>
                <c:pt idx="3423">
                  <c:v>-2.0096195335552916E-2</c:v>
                </c:pt>
                <c:pt idx="3424">
                  <c:v>-2.0182346433192267E-2</c:v>
                </c:pt>
                <c:pt idx="3425">
                  <c:v>-2.0214259607837362E-2</c:v>
                </c:pt>
                <c:pt idx="3426">
                  <c:v>-2.025677314613708E-2</c:v>
                </c:pt>
                <c:pt idx="3427">
                  <c:v>-2.0241973923317703E-2</c:v>
                </c:pt>
                <c:pt idx="3428">
                  <c:v>-2.0127643843668691E-2</c:v>
                </c:pt>
                <c:pt idx="3429">
                  <c:v>-1.997715124902175E-2</c:v>
                </c:pt>
                <c:pt idx="3430">
                  <c:v>-1.9834269113742014E-2</c:v>
                </c:pt>
                <c:pt idx="3431">
                  <c:v>-1.9611864221456925E-2</c:v>
                </c:pt>
                <c:pt idx="3432">
                  <c:v>-1.9274339256968535E-2</c:v>
                </c:pt>
                <c:pt idx="3433">
                  <c:v>-1.9000897778708756E-2</c:v>
                </c:pt>
                <c:pt idx="3434">
                  <c:v>-1.8748592023623313E-2</c:v>
                </c:pt>
                <c:pt idx="3435">
                  <c:v>-1.8493416668563911E-2</c:v>
                </c:pt>
                <c:pt idx="3436">
                  <c:v>-1.8075488834893298E-2</c:v>
                </c:pt>
                <c:pt idx="3437">
                  <c:v>-1.7872323077031911E-2</c:v>
                </c:pt>
                <c:pt idx="3438">
                  <c:v>-1.7744442044393731E-2</c:v>
                </c:pt>
                <c:pt idx="3439">
                  <c:v>-1.794275465986471E-2</c:v>
                </c:pt>
                <c:pt idx="3440">
                  <c:v>-1.8309765119980365E-2</c:v>
                </c:pt>
                <c:pt idx="3441">
                  <c:v>-1.8719762164596001E-2</c:v>
                </c:pt>
                <c:pt idx="3442">
                  <c:v>-1.8812617547013494E-2</c:v>
                </c:pt>
                <c:pt idx="3443">
                  <c:v>-1.8843332698984399E-2</c:v>
                </c:pt>
                <c:pt idx="3444">
                  <c:v>-1.8444075355991997E-2</c:v>
                </c:pt>
                <c:pt idx="3445">
                  <c:v>-1.7250029263575477E-2</c:v>
                </c:pt>
                <c:pt idx="3446">
                  <c:v>-1.5965399547114394E-2</c:v>
                </c:pt>
                <c:pt idx="3447">
                  <c:v>-1.3738862148043436E-2</c:v>
                </c:pt>
                <c:pt idx="3448">
                  <c:v>-1.2586439849377207E-2</c:v>
                </c:pt>
                <c:pt idx="3449">
                  <c:v>-1.3172463004731093E-2</c:v>
                </c:pt>
                <c:pt idx="3450">
                  <c:v>-1.4313319575176368E-2</c:v>
                </c:pt>
                <c:pt idx="3451">
                  <c:v>-1.5680727023474717E-2</c:v>
                </c:pt>
                <c:pt idx="3452">
                  <c:v>-1.6720981220840678E-2</c:v>
                </c:pt>
                <c:pt idx="3453">
                  <c:v>-1.6799709087256226E-2</c:v>
                </c:pt>
                <c:pt idx="3454">
                  <c:v>-1.5950469997419007E-2</c:v>
                </c:pt>
                <c:pt idx="3455">
                  <c:v>-1.5260101031043279E-2</c:v>
                </c:pt>
                <c:pt idx="3456">
                  <c:v>-1.4708606601530814E-2</c:v>
                </c:pt>
                <c:pt idx="3457">
                  <c:v>-1.4526919185398491E-2</c:v>
                </c:pt>
                <c:pt idx="3458">
                  <c:v>-1.472013021666173E-2</c:v>
                </c:pt>
                <c:pt idx="3459">
                  <c:v>-1.4951974202207946E-2</c:v>
                </c:pt>
                <c:pt idx="3460">
                  <c:v>-1.5366430073037011E-2</c:v>
                </c:pt>
                <c:pt idx="3461">
                  <c:v>-1.5733540464471507E-2</c:v>
                </c:pt>
                <c:pt idx="3462">
                  <c:v>-1.6121250790948723E-2</c:v>
                </c:pt>
                <c:pt idx="3463">
                  <c:v>-1.6347393367028281E-2</c:v>
                </c:pt>
                <c:pt idx="3464">
                  <c:v>-1.639148930857762E-2</c:v>
                </c:pt>
                <c:pt idx="3465">
                  <c:v>-1.6361091920103845E-2</c:v>
                </c:pt>
                <c:pt idx="3466">
                  <c:v>-1.649376800968419E-2</c:v>
                </c:pt>
                <c:pt idx="3467">
                  <c:v>-1.679006725077237E-2</c:v>
                </c:pt>
                <c:pt idx="3468">
                  <c:v>-1.6995333189799622E-2</c:v>
                </c:pt>
                <c:pt idx="3469">
                  <c:v>-1.7055289379817963E-2</c:v>
                </c:pt>
                <c:pt idx="3470">
                  <c:v>-1.7215753081505636E-2</c:v>
                </c:pt>
                <c:pt idx="3471">
                  <c:v>-1.7270350689223141E-2</c:v>
                </c:pt>
                <c:pt idx="3472">
                  <c:v>-1.6786802669095109E-2</c:v>
                </c:pt>
                <c:pt idx="3473">
                  <c:v>-1.6915417779046059E-2</c:v>
                </c:pt>
                <c:pt idx="3474">
                  <c:v>-1.7049828647817913E-2</c:v>
                </c:pt>
                <c:pt idx="3475">
                  <c:v>-1.716202352179105E-2</c:v>
                </c:pt>
                <c:pt idx="3476">
                  <c:v>-1.7290682549425562E-2</c:v>
                </c:pt>
                <c:pt idx="3477">
                  <c:v>-1.8121119641585661E-2</c:v>
                </c:pt>
                <c:pt idx="3478">
                  <c:v>-1.8586974732836013E-2</c:v>
                </c:pt>
                <c:pt idx="3479">
                  <c:v>-1.8404850464887781E-2</c:v>
                </c:pt>
                <c:pt idx="3480">
                  <c:v>-1.780150199617023E-2</c:v>
                </c:pt>
                <c:pt idx="3481">
                  <c:v>-1.6566655276820851E-2</c:v>
                </c:pt>
                <c:pt idx="3482">
                  <c:v>-1.4936947557142153E-2</c:v>
                </c:pt>
                <c:pt idx="3483">
                  <c:v>-1.3147915936587018E-2</c:v>
                </c:pt>
                <c:pt idx="3484">
                  <c:v>-1.2706374278095591E-2</c:v>
                </c:pt>
                <c:pt idx="3485">
                  <c:v>-1.2385900181344479E-2</c:v>
                </c:pt>
                <c:pt idx="3486">
                  <c:v>-1.322956447105497E-2</c:v>
                </c:pt>
                <c:pt idx="3487">
                  <c:v>-1.4632512512202159E-2</c:v>
                </c:pt>
                <c:pt idx="3488">
                  <c:v>-1.5794407931018401E-2</c:v>
                </c:pt>
                <c:pt idx="3489">
                  <c:v>-1.6529145440609096E-2</c:v>
                </c:pt>
                <c:pt idx="3490">
                  <c:v>-1.7245662957014421E-2</c:v>
                </c:pt>
                <c:pt idx="3491">
                  <c:v>-1.7788844142127828E-2</c:v>
                </c:pt>
                <c:pt idx="3492">
                  <c:v>-1.7971670834893566E-2</c:v>
                </c:pt>
                <c:pt idx="3493">
                  <c:v>-1.8273914780863508E-2</c:v>
                </c:pt>
                <c:pt idx="3494">
                  <c:v>-1.8565909298034304E-2</c:v>
                </c:pt>
                <c:pt idx="3495">
                  <c:v>-1.894343600131905E-2</c:v>
                </c:pt>
                <c:pt idx="3496">
                  <c:v>-1.9249795235651297E-2</c:v>
                </c:pt>
                <c:pt idx="3497">
                  <c:v>-1.9133964532913182E-2</c:v>
                </c:pt>
                <c:pt idx="3498">
                  <c:v>-1.9016427700155221E-2</c:v>
                </c:pt>
                <c:pt idx="3499">
                  <c:v>-1.944944833824902E-2</c:v>
                </c:pt>
                <c:pt idx="3500">
                  <c:v>-1.9503167441248775E-2</c:v>
                </c:pt>
                <c:pt idx="3501">
                  <c:v>-1.9670055083234904E-2</c:v>
                </c:pt>
                <c:pt idx="3502">
                  <c:v>-2.1775307058303772E-2</c:v>
                </c:pt>
                <c:pt idx="3503">
                  <c:v>-2.1424438488766417E-2</c:v>
                </c:pt>
                <c:pt idx="3504">
                  <c:v>-2.1130293972849105E-2</c:v>
                </c:pt>
                <c:pt idx="3505">
                  <c:v>-2.0567999708943355E-2</c:v>
                </c:pt>
                <c:pt idx="3506">
                  <c:v>-1.9614940321202923E-2</c:v>
                </c:pt>
                <c:pt idx="3507">
                  <c:v>-1.8373748787570851E-2</c:v>
                </c:pt>
                <c:pt idx="3508">
                  <c:v>-1.8036283157225469E-2</c:v>
                </c:pt>
                <c:pt idx="3509">
                  <c:v>-1.7785435019526404E-2</c:v>
                </c:pt>
                <c:pt idx="3510">
                  <c:v>-1.7334325738086086E-2</c:v>
                </c:pt>
                <c:pt idx="3511">
                  <c:v>-1.6574058105971623E-2</c:v>
                </c:pt>
                <c:pt idx="3512">
                  <c:v>-1.5422012315187195E-2</c:v>
                </c:pt>
                <c:pt idx="3513">
                  <c:v>-1.3978682325916369E-2</c:v>
                </c:pt>
                <c:pt idx="3514">
                  <c:v>-1.3413100404632648E-2</c:v>
                </c:pt>
                <c:pt idx="3515">
                  <c:v>-1.3054224503974015E-2</c:v>
                </c:pt>
                <c:pt idx="3516">
                  <c:v>-1.2817355305691454E-2</c:v>
                </c:pt>
                <c:pt idx="3517">
                  <c:v>-1.2722551666761511E-2</c:v>
                </c:pt>
                <c:pt idx="3518">
                  <c:v>-1.2698710471199078E-2</c:v>
                </c:pt>
                <c:pt idx="3519">
                  <c:v>-1.2634879296584587E-2</c:v>
                </c:pt>
                <c:pt idx="3520">
                  <c:v>-1.2553710427415755E-2</c:v>
                </c:pt>
                <c:pt idx="3521">
                  <c:v>-1.2518022381841982E-2</c:v>
                </c:pt>
                <c:pt idx="3522">
                  <c:v>-1.2558947566987284E-2</c:v>
                </c:pt>
                <c:pt idx="3523">
                  <c:v>-1.2691891037354627E-2</c:v>
                </c:pt>
                <c:pt idx="3524">
                  <c:v>-1.2796260892991192E-2</c:v>
                </c:pt>
                <c:pt idx="3525">
                  <c:v>-1.3009227658877486E-2</c:v>
                </c:pt>
                <c:pt idx="3526">
                  <c:v>-1.317061392569986E-2</c:v>
                </c:pt>
                <c:pt idx="3527">
                  <c:v>-1.3354410900007991E-2</c:v>
                </c:pt>
                <c:pt idx="3528">
                  <c:v>-1.3567672067779039E-2</c:v>
                </c:pt>
                <c:pt idx="3529">
                  <c:v>-1.3612751447578193E-2</c:v>
                </c:pt>
                <c:pt idx="3530">
                  <c:v>-1.3623298796917255E-2</c:v>
                </c:pt>
                <c:pt idx="3531">
                  <c:v>-1.378393709920879E-2</c:v>
                </c:pt>
                <c:pt idx="3532">
                  <c:v>-1.3705082499323902E-2</c:v>
                </c:pt>
                <c:pt idx="3533">
                  <c:v>-1.3640174389864918E-2</c:v>
                </c:pt>
                <c:pt idx="3534">
                  <c:v>-1.3672173435535725E-2</c:v>
                </c:pt>
                <c:pt idx="3535">
                  <c:v>-1.3747543426025861E-2</c:v>
                </c:pt>
                <c:pt idx="3536">
                  <c:v>-1.3901522813596627E-2</c:v>
                </c:pt>
                <c:pt idx="3537">
                  <c:v>-1.3981134020751258E-2</c:v>
                </c:pt>
                <c:pt idx="3538">
                  <c:v>-1.3744325689200577E-2</c:v>
                </c:pt>
                <c:pt idx="3539">
                  <c:v>-1.327514839677805E-2</c:v>
                </c:pt>
                <c:pt idx="3540">
                  <c:v>-1.2837832811872174E-2</c:v>
                </c:pt>
                <c:pt idx="3541">
                  <c:v>-1.2592719368288867E-2</c:v>
                </c:pt>
                <c:pt idx="3542">
                  <c:v>-1.2695815241678239E-2</c:v>
                </c:pt>
                <c:pt idx="3543">
                  <c:v>-1.3879621234172634E-2</c:v>
                </c:pt>
                <c:pt idx="3544">
                  <c:v>-1.4721118836072102E-2</c:v>
                </c:pt>
                <c:pt idx="3545">
                  <c:v>-1.5032104169628815E-2</c:v>
                </c:pt>
                <c:pt idx="3546">
                  <c:v>-1.5174697079544559E-2</c:v>
                </c:pt>
                <c:pt idx="3547">
                  <c:v>-1.7163342052062817E-2</c:v>
                </c:pt>
                <c:pt idx="3548">
                  <c:v>-1.853156763099759E-2</c:v>
                </c:pt>
                <c:pt idx="3549">
                  <c:v>-1.958908194315287E-2</c:v>
                </c:pt>
                <c:pt idx="3550">
                  <c:v>-2.0235989141385427E-2</c:v>
                </c:pt>
                <c:pt idx="3551">
                  <c:v>-2.058698226245952E-2</c:v>
                </c:pt>
                <c:pt idx="3552">
                  <c:v>-2.0772721561806012E-2</c:v>
                </c:pt>
                <c:pt idx="3553">
                  <c:v>-2.0783954391313982E-2</c:v>
                </c:pt>
                <c:pt idx="3554">
                  <c:v>-2.0768354999982308E-2</c:v>
                </c:pt>
                <c:pt idx="3555">
                  <c:v>-2.0794195211936727E-2</c:v>
                </c:pt>
                <c:pt idx="3556">
                  <c:v>-2.099304093356736E-2</c:v>
                </c:pt>
                <c:pt idx="3557">
                  <c:v>-2.1167706273082901E-2</c:v>
                </c:pt>
                <c:pt idx="3558">
                  <c:v>-2.1372094511943121E-2</c:v>
                </c:pt>
                <c:pt idx="3559">
                  <c:v>-2.151959468291801E-2</c:v>
                </c:pt>
                <c:pt idx="3560">
                  <c:v>-2.1170241202449799E-2</c:v>
                </c:pt>
                <c:pt idx="3561">
                  <c:v>-1.9309308903898478E-2</c:v>
                </c:pt>
                <c:pt idx="3562">
                  <c:v>-1.9436638332509006E-2</c:v>
                </c:pt>
                <c:pt idx="3563">
                  <c:v>-1.951026337372045E-2</c:v>
                </c:pt>
                <c:pt idx="3564">
                  <c:v>-1.9448958428038697E-2</c:v>
                </c:pt>
                <c:pt idx="3565">
                  <c:v>-1.9294292697663525E-2</c:v>
                </c:pt>
                <c:pt idx="3566">
                  <c:v>-1.9137320237833103E-2</c:v>
                </c:pt>
                <c:pt idx="3567">
                  <c:v>-1.8901657886444788E-2</c:v>
                </c:pt>
                <c:pt idx="3568">
                  <c:v>-1.8670178205421828E-2</c:v>
                </c:pt>
                <c:pt idx="3569">
                  <c:v>-1.8424065543711961E-2</c:v>
                </c:pt>
                <c:pt idx="3570">
                  <c:v>-1.8375472242036037E-2</c:v>
                </c:pt>
                <c:pt idx="3571">
                  <c:v>-1.8426880093085983E-2</c:v>
                </c:pt>
                <c:pt idx="3572">
                  <c:v>-1.8748288511370063E-2</c:v>
                </c:pt>
                <c:pt idx="3573">
                  <c:v>-1.9175973222702675E-2</c:v>
                </c:pt>
                <c:pt idx="3574">
                  <c:v>-1.960174234589173E-2</c:v>
                </c:pt>
                <c:pt idx="3575">
                  <c:v>-2.0018774404237407E-2</c:v>
                </c:pt>
                <c:pt idx="3576">
                  <c:v>-2.0506864426594031E-2</c:v>
                </c:pt>
                <c:pt idx="3577">
                  <c:v>-2.0157560237043251E-2</c:v>
                </c:pt>
                <c:pt idx="3578">
                  <c:v>-1.9029688582661915E-2</c:v>
                </c:pt>
                <c:pt idx="3579">
                  <c:v>-1.7050966183370795E-2</c:v>
                </c:pt>
                <c:pt idx="3580">
                  <c:v>-1.5531740768828781E-2</c:v>
                </c:pt>
                <c:pt idx="3581">
                  <c:v>-1.4165852911471237E-2</c:v>
                </c:pt>
                <c:pt idx="3582">
                  <c:v>-1.2705713583648658E-2</c:v>
                </c:pt>
                <c:pt idx="3583">
                  <c:v>-1.1923201788698873E-2</c:v>
                </c:pt>
                <c:pt idx="3584">
                  <c:v>-1.0654289539554216E-2</c:v>
                </c:pt>
                <c:pt idx="3585">
                  <c:v>-1.0243326472908966E-2</c:v>
                </c:pt>
                <c:pt idx="3586">
                  <c:v>-1.0263420503604424E-2</c:v>
                </c:pt>
                <c:pt idx="3587">
                  <c:v>-8.6178870824848534E-3</c:v>
                </c:pt>
                <c:pt idx="3588">
                  <c:v>-7.5629750682271527E-3</c:v>
                </c:pt>
                <c:pt idx="3589">
                  <c:v>-7.3666240011483076E-3</c:v>
                </c:pt>
                <c:pt idx="3590">
                  <c:v>-7.6899050536028864E-3</c:v>
                </c:pt>
                <c:pt idx="3591">
                  <c:v>-9.3696015302443935E-3</c:v>
                </c:pt>
                <c:pt idx="3592">
                  <c:v>-1.0440796135601605E-2</c:v>
                </c:pt>
                <c:pt idx="3593">
                  <c:v>-1.1997197095402486E-2</c:v>
                </c:pt>
                <c:pt idx="3594">
                  <c:v>-1.3697610229659577E-2</c:v>
                </c:pt>
                <c:pt idx="3595">
                  <c:v>-1.5048989235106548E-2</c:v>
                </c:pt>
                <c:pt idx="3596">
                  <c:v>-1.640059536560378E-2</c:v>
                </c:pt>
                <c:pt idx="3597">
                  <c:v>-1.7316122991790438E-2</c:v>
                </c:pt>
                <c:pt idx="3598">
                  <c:v>-1.8078462505829496E-2</c:v>
                </c:pt>
                <c:pt idx="3599">
                  <c:v>-1.8522578019074587E-2</c:v>
                </c:pt>
                <c:pt idx="3600">
                  <c:v>-1.8771725411442841E-2</c:v>
                </c:pt>
                <c:pt idx="3601">
                  <c:v>-1.9091828688401168E-2</c:v>
                </c:pt>
                <c:pt idx="3602">
                  <c:v>-1.9315172627503735E-2</c:v>
                </c:pt>
                <c:pt idx="3603">
                  <c:v>-1.9899538921545182E-2</c:v>
                </c:pt>
                <c:pt idx="3604">
                  <c:v>-2.0178566706551132E-2</c:v>
                </c:pt>
                <c:pt idx="3605">
                  <c:v>-2.028504304211283E-2</c:v>
                </c:pt>
                <c:pt idx="3606">
                  <c:v>-2.0211546492178802E-2</c:v>
                </c:pt>
                <c:pt idx="3607">
                  <c:v>-1.9531167448511917E-2</c:v>
                </c:pt>
                <c:pt idx="3608">
                  <c:v>-1.8817868526503717E-2</c:v>
                </c:pt>
                <c:pt idx="3609">
                  <c:v>-1.8830520652217821E-2</c:v>
                </c:pt>
                <c:pt idx="3610">
                  <c:v>-1.8473526679172451E-2</c:v>
                </c:pt>
                <c:pt idx="3611">
                  <c:v>-1.8017943243506453E-2</c:v>
                </c:pt>
                <c:pt idx="3612">
                  <c:v>-1.7732926296079657E-2</c:v>
                </c:pt>
                <c:pt idx="3613">
                  <c:v>-1.716958902149299E-2</c:v>
                </c:pt>
                <c:pt idx="3614">
                  <c:v>-1.7076800353085557E-2</c:v>
                </c:pt>
                <c:pt idx="3615">
                  <c:v>-1.6590063267570308E-2</c:v>
                </c:pt>
                <c:pt idx="3616">
                  <c:v>-1.6038469720938944E-2</c:v>
                </c:pt>
                <c:pt idx="3617">
                  <c:v>-1.6166640497076633E-2</c:v>
                </c:pt>
                <c:pt idx="3618">
                  <c:v>-1.5845467870738331E-2</c:v>
                </c:pt>
                <c:pt idx="3619">
                  <c:v>-1.5745542923273827E-2</c:v>
                </c:pt>
                <c:pt idx="3620">
                  <c:v>-1.5614009208427797E-2</c:v>
                </c:pt>
                <c:pt idx="3621">
                  <c:v>-1.5424920145863462E-2</c:v>
                </c:pt>
                <c:pt idx="3622">
                  <c:v>-1.5332788275463284E-2</c:v>
                </c:pt>
                <c:pt idx="3623">
                  <c:v>-1.5346699032101636E-2</c:v>
                </c:pt>
                <c:pt idx="3624">
                  <c:v>-1.5435185317773877E-2</c:v>
                </c:pt>
                <c:pt idx="3625">
                  <c:v>-1.5538341814111779E-2</c:v>
                </c:pt>
                <c:pt idx="3626">
                  <c:v>-1.5427493864571193E-2</c:v>
                </c:pt>
                <c:pt idx="3627">
                  <c:v>-1.5463240543740271E-2</c:v>
                </c:pt>
                <c:pt idx="3628">
                  <c:v>-1.5519897765945017E-2</c:v>
                </c:pt>
                <c:pt idx="3629">
                  <c:v>-1.5575717911051525E-2</c:v>
                </c:pt>
                <c:pt idx="3630">
                  <c:v>-1.5478517224901858E-2</c:v>
                </c:pt>
                <c:pt idx="3631">
                  <c:v>-1.5452050866179446E-2</c:v>
                </c:pt>
                <c:pt idx="3632">
                  <c:v>-1.5477196745655095E-2</c:v>
                </c:pt>
                <c:pt idx="3633">
                  <c:v>-1.5432506030485526E-2</c:v>
                </c:pt>
                <c:pt idx="3634">
                  <c:v>-1.5587496543097865E-2</c:v>
                </c:pt>
                <c:pt idx="3635">
                  <c:v>-1.5713263629113398E-2</c:v>
                </c:pt>
                <c:pt idx="3636">
                  <c:v>-1.6000171066080527E-2</c:v>
                </c:pt>
                <c:pt idx="3637">
                  <c:v>-1.7031971814945167E-2</c:v>
                </c:pt>
                <c:pt idx="3638">
                  <c:v>-1.7939122713571072E-2</c:v>
                </c:pt>
                <c:pt idx="3639">
                  <c:v>-1.8285551734435829E-2</c:v>
                </c:pt>
                <c:pt idx="3640">
                  <c:v>-1.8229660776625693E-2</c:v>
                </c:pt>
                <c:pt idx="3641">
                  <c:v>-1.815490764933491E-2</c:v>
                </c:pt>
                <c:pt idx="3642">
                  <c:v>-1.7930074652259459E-2</c:v>
                </c:pt>
                <c:pt idx="3643">
                  <c:v>-1.770022032230956E-2</c:v>
                </c:pt>
                <c:pt idx="3644">
                  <c:v>-1.7795322538433085E-2</c:v>
                </c:pt>
                <c:pt idx="3645">
                  <c:v>-1.7885000386836904E-2</c:v>
                </c:pt>
                <c:pt idx="3646">
                  <c:v>-1.7880636065622815E-2</c:v>
                </c:pt>
                <c:pt idx="3647">
                  <c:v>-1.7839023474868484E-2</c:v>
                </c:pt>
                <c:pt idx="3648">
                  <c:v>-1.7841652015660809E-2</c:v>
                </c:pt>
                <c:pt idx="3649">
                  <c:v>-1.7859370421896486E-2</c:v>
                </c:pt>
                <c:pt idx="3650">
                  <c:v>-1.7866332185116424E-2</c:v>
                </c:pt>
                <c:pt idx="3651">
                  <c:v>-1.7754022784773144E-2</c:v>
                </c:pt>
                <c:pt idx="3652">
                  <c:v>-1.7387237809985141E-2</c:v>
                </c:pt>
                <c:pt idx="3653">
                  <c:v>-1.7244822818613142E-2</c:v>
                </c:pt>
                <c:pt idx="3654">
                  <c:v>-1.6671262261597809E-2</c:v>
                </c:pt>
                <c:pt idx="3655">
                  <c:v>-1.6474791702941777E-2</c:v>
                </c:pt>
                <c:pt idx="3656">
                  <c:v>-1.647321616482415E-2</c:v>
                </c:pt>
                <c:pt idx="3657">
                  <c:v>-1.6568994432171972E-2</c:v>
                </c:pt>
                <c:pt idx="3658">
                  <c:v>-1.6588953610513626E-2</c:v>
                </c:pt>
                <c:pt idx="3659">
                  <c:v>-1.6586700431798301E-2</c:v>
                </c:pt>
                <c:pt idx="3660">
                  <c:v>-1.6668233036822348E-2</c:v>
                </c:pt>
                <c:pt idx="3661">
                  <c:v>-1.6781956749255783E-2</c:v>
                </c:pt>
                <c:pt idx="3662">
                  <c:v>-1.6831518504156762E-2</c:v>
                </c:pt>
                <c:pt idx="3663">
                  <c:v>-1.6785151645769256E-2</c:v>
                </c:pt>
                <c:pt idx="3664">
                  <c:v>-1.6645397396627435E-2</c:v>
                </c:pt>
                <c:pt idx="3665">
                  <c:v>-1.6321592487165002E-2</c:v>
                </c:pt>
                <c:pt idx="3666">
                  <c:v>-1.5882029494735144E-2</c:v>
                </c:pt>
                <c:pt idx="3667">
                  <c:v>-1.555225639031128E-2</c:v>
                </c:pt>
                <c:pt idx="3668">
                  <c:v>-1.5181075282248975E-2</c:v>
                </c:pt>
                <c:pt idx="3669">
                  <c:v>-1.3684726471197499E-2</c:v>
                </c:pt>
                <c:pt idx="3670">
                  <c:v>-1.2223348477611954E-2</c:v>
                </c:pt>
                <c:pt idx="3671">
                  <c:v>-1.0811302119053122E-2</c:v>
                </c:pt>
                <c:pt idx="3672">
                  <c:v>-9.5563247462228211E-3</c:v>
                </c:pt>
                <c:pt idx="3673">
                  <c:v>-9.5343671476290359E-3</c:v>
                </c:pt>
                <c:pt idx="3674">
                  <c:v>-1.0094079839002623E-2</c:v>
                </c:pt>
                <c:pt idx="3675">
                  <c:v>-1.0620623763383633E-2</c:v>
                </c:pt>
                <c:pt idx="3676">
                  <c:v>-1.0683679419789625E-2</c:v>
                </c:pt>
                <c:pt idx="3677">
                  <c:v>-1.0711113444153715E-2</c:v>
                </c:pt>
                <c:pt idx="3678">
                  <c:v>-1.0567976379850538E-2</c:v>
                </c:pt>
                <c:pt idx="3679">
                  <c:v>-1.048803809698878E-2</c:v>
                </c:pt>
                <c:pt idx="3680">
                  <c:v>-1.052422068883903E-2</c:v>
                </c:pt>
                <c:pt idx="3681">
                  <c:v>-1.0595124690413332E-2</c:v>
                </c:pt>
                <c:pt idx="3682">
                  <c:v>-1.1042825983023769E-2</c:v>
                </c:pt>
                <c:pt idx="3683">
                  <c:v>-1.1379188441759031E-2</c:v>
                </c:pt>
                <c:pt idx="3684">
                  <c:v>-1.1962333027929428E-2</c:v>
                </c:pt>
                <c:pt idx="3685">
                  <c:v>-1.2471239266556125E-2</c:v>
                </c:pt>
                <c:pt idx="3686">
                  <c:v>-1.3385676941784601E-2</c:v>
                </c:pt>
                <c:pt idx="3687">
                  <c:v>-1.461996522564929E-2</c:v>
                </c:pt>
                <c:pt idx="3688">
                  <c:v>-1.5650675059774362E-2</c:v>
                </c:pt>
                <c:pt idx="3689">
                  <c:v>-1.6965427634207109E-2</c:v>
                </c:pt>
                <c:pt idx="3690">
                  <c:v>-1.8485536173070041E-2</c:v>
                </c:pt>
                <c:pt idx="3691">
                  <c:v>-1.964370660110331E-2</c:v>
                </c:pt>
                <c:pt idx="3692">
                  <c:v>-2.0592478052588393E-2</c:v>
                </c:pt>
                <c:pt idx="3693">
                  <c:v>-2.1374407287712324E-2</c:v>
                </c:pt>
                <c:pt idx="3694">
                  <c:v>-2.1919301397073321E-2</c:v>
                </c:pt>
                <c:pt idx="3695">
                  <c:v>-2.1892015724554615E-2</c:v>
                </c:pt>
                <c:pt idx="3696">
                  <c:v>-2.1864037603043038E-2</c:v>
                </c:pt>
                <c:pt idx="3697">
                  <c:v>-2.1838636860339843E-2</c:v>
                </c:pt>
                <c:pt idx="3698">
                  <c:v>-2.1584157042981063E-2</c:v>
                </c:pt>
                <c:pt idx="3699">
                  <c:v>-2.1884587740708568E-2</c:v>
                </c:pt>
                <c:pt idx="3700">
                  <c:v>-2.248959130009787E-2</c:v>
                </c:pt>
                <c:pt idx="3701">
                  <c:v>-2.286774326490032E-2</c:v>
                </c:pt>
                <c:pt idx="3702">
                  <c:v>-2.2432778322277233E-2</c:v>
                </c:pt>
                <c:pt idx="3703">
                  <c:v>-2.1936995937980597E-2</c:v>
                </c:pt>
                <c:pt idx="3704">
                  <c:v>-2.1452347079157066E-2</c:v>
                </c:pt>
                <c:pt idx="3705">
                  <c:v>-2.0983683954244679E-2</c:v>
                </c:pt>
                <c:pt idx="3706">
                  <c:v>-2.0495387470891944E-2</c:v>
                </c:pt>
                <c:pt idx="3707">
                  <c:v>-2.0057103886231307E-2</c:v>
                </c:pt>
                <c:pt idx="3708">
                  <c:v>-1.9328556208198282E-2</c:v>
                </c:pt>
                <c:pt idx="3709">
                  <c:v>-1.8498248227228627E-2</c:v>
                </c:pt>
                <c:pt idx="3710">
                  <c:v>-1.7041552091891184E-2</c:v>
                </c:pt>
                <c:pt idx="3711">
                  <c:v>-1.4366689584556102E-2</c:v>
                </c:pt>
                <c:pt idx="3712">
                  <c:v>-1.2962845898531687E-2</c:v>
                </c:pt>
                <c:pt idx="3713">
                  <c:v>-1.2152551593394994E-2</c:v>
                </c:pt>
                <c:pt idx="3714">
                  <c:v>-1.1150727553616721E-2</c:v>
                </c:pt>
                <c:pt idx="3715">
                  <c:v>-1.0185579981115907E-2</c:v>
                </c:pt>
                <c:pt idx="3716">
                  <c:v>-8.9872158072378319E-3</c:v>
                </c:pt>
                <c:pt idx="3717">
                  <c:v>-8.7914532486097E-3</c:v>
                </c:pt>
                <c:pt idx="3718">
                  <c:v>-8.6197207130694481E-3</c:v>
                </c:pt>
                <c:pt idx="3719">
                  <c:v>-8.9635651637820606E-3</c:v>
                </c:pt>
                <c:pt idx="3720">
                  <c:v>-9.1932870770200376E-3</c:v>
                </c:pt>
                <c:pt idx="3721">
                  <c:v>-9.7082533598152575E-3</c:v>
                </c:pt>
                <c:pt idx="3722">
                  <c:v>-1.036276326179366E-2</c:v>
                </c:pt>
                <c:pt idx="3723">
                  <c:v>-1.0830612106594121E-2</c:v>
                </c:pt>
                <c:pt idx="3724">
                  <c:v>-1.1625120717981201E-2</c:v>
                </c:pt>
                <c:pt idx="3725">
                  <c:v>-1.2422676658224358E-2</c:v>
                </c:pt>
                <c:pt idx="3726">
                  <c:v>-1.2865934562664079E-2</c:v>
                </c:pt>
                <c:pt idx="3727">
                  <c:v>-1.3437147979586971E-2</c:v>
                </c:pt>
                <c:pt idx="3728">
                  <c:v>-1.4056556544180743E-2</c:v>
                </c:pt>
                <c:pt idx="3729">
                  <c:v>-1.4666765376100887E-2</c:v>
                </c:pt>
                <c:pt idx="3730">
                  <c:v>-1.5421161486939049E-2</c:v>
                </c:pt>
                <c:pt idx="3731">
                  <c:v>-1.6295877278274924E-2</c:v>
                </c:pt>
                <c:pt idx="3732">
                  <c:v>-1.7093165013939027E-2</c:v>
                </c:pt>
                <c:pt idx="3733">
                  <c:v>-1.7682887377758125E-2</c:v>
                </c:pt>
                <c:pt idx="3734">
                  <c:v>-1.8346497209669715E-2</c:v>
                </c:pt>
                <c:pt idx="3735">
                  <c:v>-1.8425433202357198E-2</c:v>
                </c:pt>
                <c:pt idx="3736">
                  <c:v>-1.8525152803101266E-2</c:v>
                </c:pt>
                <c:pt idx="3737">
                  <c:v>-1.8799667212794954E-2</c:v>
                </c:pt>
                <c:pt idx="3738">
                  <c:v>-1.9095034763984831E-2</c:v>
                </c:pt>
                <c:pt idx="3739">
                  <c:v>-1.9389770474768267E-2</c:v>
                </c:pt>
                <c:pt idx="3740">
                  <c:v>-1.9724801836594599E-2</c:v>
                </c:pt>
                <c:pt idx="3741">
                  <c:v>-2.1005900404667956E-2</c:v>
                </c:pt>
                <c:pt idx="3742">
                  <c:v>-2.1847137751966193E-2</c:v>
                </c:pt>
                <c:pt idx="3743">
                  <c:v>-2.1907780901447491E-2</c:v>
                </c:pt>
                <c:pt idx="3744">
                  <c:v>-2.189398297327165E-2</c:v>
                </c:pt>
                <c:pt idx="3745">
                  <c:v>-2.1830716254044029E-2</c:v>
                </c:pt>
                <c:pt idx="3746">
                  <c:v>-2.2854659800562817E-2</c:v>
                </c:pt>
                <c:pt idx="3747">
                  <c:v>-2.2691072643642118E-2</c:v>
                </c:pt>
                <c:pt idx="3748">
                  <c:v>-2.2576228132379299E-2</c:v>
                </c:pt>
                <c:pt idx="3749">
                  <c:v>-2.2549337167567692E-2</c:v>
                </c:pt>
                <c:pt idx="3750">
                  <c:v>-2.2574557736410518E-2</c:v>
                </c:pt>
                <c:pt idx="3751">
                  <c:v>-2.2758641367922453E-2</c:v>
                </c:pt>
                <c:pt idx="3752">
                  <c:v>-2.3027297988796616E-2</c:v>
                </c:pt>
                <c:pt idx="3753">
                  <c:v>-2.3245182923885745E-2</c:v>
                </c:pt>
                <c:pt idx="3754">
                  <c:v>-2.330336554353948E-2</c:v>
                </c:pt>
                <c:pt idx="3755">
                  <c:v>-2.3218401100809305E-2</c:v>
                </c:pt>
                <c:pt idx="3756">
                  <c:v>-2.3103206956016295E-2</c:v>
                </c:pt>
                <c:pt idx="3757">
                  <c:v>-2.2892760992558422E-2</c:v>
                </c:pt>
                <c:pt idx="3758">
                  <c:v>-2.2696317105898926E-2</c:v>
                </c:pt>
                <c:pt idx="3759">
                  <c:v>-2.2530635456065144E-2</c:v>
                </c:pt>
                <c:pt idx="3760">
                  <c:v>-2.2381110259698626E-2</c:v>
                </c:pt>
                <c:pt idx="3761">
                  <c:v>-2.2459756922795678E-2</c:v>
                </c:pt>
                <c:pt idx="3762">
                  <c:v>-2.2654548412286077E-2</c:v>
                </c:pt>
                <c:pt idx="3763">
                  <c:v>-2.2802053635276189E-2</c:v>
                </c:pt>
                <c:pt idx="3764">
                  <c:v>-2.2640994493941288E-2</c:v>
                </c:pt>
                <c:pt idx="3765">
                  <c:v>-2.3225384240180579E-2</c:v>
                </c:pt>
                <c:pt idx="3766">
                  <c:v>-2.3355988773935441E-2</c:v>
                </c:pt>
                <c:pt idx="3767">
                  <c:v>-2.333294646568302E-2</c:v>
                </c:pt>
                <c:pt idx="3768">
                  <c:v>-2.340297062387791E-2</c:v>
                </c:pt>
                <c:pt idx="3769">
                  <c:v>-2.3467875853869859E-2</c:v>
                </c:pt>
                <c:pt idx="3770">
                  <c:v>-2.3369969592165647E-2</c:v>
                </c:pt>
                <c:pt idx="3771">
                  <c:v>-2.326142833895678E-2</c:v>
                </c:pt>
                <c:pt idx="3772">
                  <c:v>-2.3152139412174332E-2</c:v>
                </c:pt>
                <c:pt idx="3773">
                  <c:v>-2.3105341008466354E-2</c:v>
                </c:pt>
                <c:pt idx="3774">
                  <c:v>-2.3041367587598824E-2</c:v>
                </c:pt>
                <c:pt idx="3775">
                  <c:v>-2.2940951613441542E-2</c:v>
                </c:pt>
                <c:pt idx="3776">
                  <c:v>-2.2975461751640999E-2</c:v>
                </c:pt>
                <c:pt idx="3777">
                  <c:v>-2.3057775382384273E-2</c:v>
                </c:pt>
                <c:pt idx="3778">
                  <c:v>-2.2959068812029568E-2</c:v>
                </c:pt>
                <c:pt idx="3779">
                  <c:v>-2.2880089485651935E-2</c:v>
                </c:pt>
                <c:pt idx="3780">
                  <c:v>-2.3076171112313512E-2</c:v>
                </c:pt>
                <c:pt idx="3781">
                  <c:v>-2.3153468767071327E-2</c:v>
                </c:pt>
                <c:pt idx="3782">
                  <c:v>-2.3080960217128785E-2</c:v>
                </c:pt>
                <c:pt idx="3783">
                  <c:v>-2.2955605936606824E-2</c:v>
                </c:pt>
                <c:pt idx="3784">
                  <c:v>-2.2782677127262445E-2</c:v>
                </c:pt>
                <c:pt idx="3785">
                  <c:v>-2.2665372109556561E-2</c:v>
                </c:pt>
                <c:pt idx="3786">
                  <c:v>-2.2640128527059142E-2</c:v>
                </c:pt>
                <c:pt idx="3787">
                  <c:v>-2.2627221292867157E-2</c:v>
                </c:pt>
                <c:pt idx="3788">
                  <c:v>-2.2494703074140324E-2</c:v>
                </c:pt>
                <c:pt idx="3789">
                  <c:v>-2.2191173757463475E-2</c:v>
                </c:pt>
                <c:pt idx="3790">
                  <c:v>-2.1669794884253323E-2</c:v>
                </c:pt>
                <c:pt idx="3791">
                  <c:v>-2.0621582988581123E-2</c:v>
                </c:pt>
                <c:pt idx="3792">
                  <c:v>-1.9385811426739709E-2</c:v>
                </c:pt>
                <c:pt idx="3793">
                  <c:v>-1.7864749207563518E-2</c:v>
                </c:pt>
                <c:pt idx="3794">
                  <c:v>-1.6620978388183716E-2</c:v>
                </c:pt>
                <c:pt idx="3795">
                  <c:v>-1.5298123449896546E-2</c:v>
                </c:pt>
                <c:pt idx="3796">
                  <c:v>-1.5204778989075917E-2</c:v>
                </c:pt>
                <c:pt idx="3797">
                  <c:v>-1.5420261979186289E-2</c:v>
                </c:pt>
                <c:pt idx="3798">
                  <c:v>-1.5379831863438012E-2</c:v>
                </c:pt>
                <c:pt idx="3799">
                  <c:v>-1.5283610275048147E-2</c:v>
                </c:pt>
                <c:pt idx="3800">
                  <c:v>-1.5340248035713473E-2</c:v>
                </c:pt>
                <c:pt idx="3801">
                  <c:v>-1.5675371937263337E-2</c:v>
                </c:pt>
                <c:pt idx="3802">
                  <c:v>-1.5958278765119027E-2</c:v>
                </c:pt>
                <c:pt idx="3803">
                  <c:v>-1.6126405562185399E-2</c:v>
                </c:pt>
                <c:pt idx="3804">
                  <c:v>-1.65717460947029E-2</c:v>
                </c:pt>
                <c:pt idx="3805">
                  <c:v>-1.7026775469688078E-2</c:v>
                </c:pt>
                <c:pt idx="3806">
                  <c:v>-1.7593254852726184E-2</c:v>
                </c:pt>
                <c:pt idx="3807">
                  <c:v>-1.8206397879456424E-2</c:v>
                </c:pt>
                <c:pt idx="3808">
                  <c:v>-1.8809440393320713E-2</c:v>
                </c:pt>
                <c:pt idx="3809">
                  <c:v>-1.9467361079254265E-2</c:v>
                </c:pt>
                <c:pt idx="3810">
                  <c:v>-2.0102180242871411E-2</c:v>
                </c:pt>
                <c:pt idx="3811">
                  <c:v>-2.0579494574664715E-2</c:v>
                </c:pt>
                <c:pt idx="3812">
                  <c:v>-2.0645522301388178E-2</c:v>
                </c:pt>
                <c:pt idx="3813">
                  <c:v>-2.0613720966462343E-2</c:v>
                </c:pt>
                <c:pt idx="3814">
                  <c:v>-2.0522689001493039E-2</c:v>
                </c:pt>
                <c:pt idx="3815">
                  <c:v>-2.0353764603703459E-2</c:v>
                </c:pt>
                <c:pt idx="3816">
                  <c:v>-2.0056185424207083E-2</c:v>
                </c:pt>
                <c:pt idx="3817">
                  <c:v>-1.9645853936072072E-2</c:v>
                </c:pt>
                <c:pt idx="3818">
                  <c:v>-1.9379363328582418E-2</c:v>
                </c:pt>
                <c:pt idx="3819">
                  <c:v>-1.9350266129861592E-2</c:v>
                </c:pt>
                <c:pt idx="3820">
                  <c:v>-1.929156187526394E-2</c:v>
                </c:pt>
                <c:pt idx="3821">
                  <c:v>-1.9126512889504531E-2</c:v>
                </c:pt>
                <c:pt idx="3822">
                  <c:v>-1.9065205748787555E-2</c:v>
                </c:pt>
                <c:pt idx="3823">
                  <c:v>-1.9273175654153839E-2</c:v>
                </c:pt>
                <c:pt idx="3824">
                  <c:v>-1.9371035689299335E-2</c:v>
                </c:pt>
                <c:pt idx="3825">
                  <c:v>-1.9411461930396882E-2</c:v>
                </c:pt>
                <c:pt idx="3826">
                  <c:v>-1.9341595257972563E-2</c:v>
                </c:pt>
                <c:pt idx="3827">
                  <c:v>-1.9245386002261208E-2</c:v>
                </c:pt>
                <c:pt idx="3828">
                  <c:v>-1.9073629810669405E-2</c:v>
                </c:pt>
                <c:pt idx="3829">
                  <c:v>-1.8915873470315005E-2</c:v>
                </c:pt>
                <c:pt idx="3830">
                  <c:v>-1.9153391710285461E-2</c:v>
                </c:pt>
                <c:pt idx="3831">
                  <c:v>-1.975053343236971E-2</c:v>
                </c:pt>
                <c:pt idx="3832">
                  <c:v>-2.0491969544141404E-2</c:v>
                </c:pt>
                <c:pt idx="3833">
                  <c:v>-2.1177645120240694E-2</c:v>
                </c:pt>
                <c:pt idx="3834">
                  <c:v>-1.9975006750588706E-2</c:v>
                </c:pt>
                <c:pt idx="3835">
                  <c:v>-1.9364432241633339E-2</c:v>
                </c:pt>
                <c:pt idx="3836">
                  <c:v>-1.9311703504261764E-2</c:v>
                </c:pt>
                <c:pt idx="3837">
                  <c:v>-1.9753854823979764E-2</c:v>
                </c:pt>
                <c:pt idx="3838">
                  <c:v>-1.9409561855227023E-2</c:v>
                </c:pt>
                <c:pt idx="3839">
                  <c:v>-1.8870749360279687E-2</c:v>
                </c:pt>
                <c:pt idx="3840">
                  <c:v>-1.7991342219347381E-2</c:v>
                </c:pt>
                <c:pt idx="3841">
                  <c:v>-1.7208490125783293E-2</c:v>
                </c:pt>
                <c:pt idx="3842">
                  <c:v>-1.6911824410865244E-2</c:v>
                </c:pt>
                <c:pt idx="3843">
                  <c:v>-1.6445838423444815E-2</c:v>
                </c:pt>
                <c:pt idx="3844">
                  <c:v>-1.6014403948487133E-2</c:v>
                </c:pt>
                <c:pt idx="3845">
                  <c:v>-1.6042608700881443E-2</c:v>
                </c:pt>
                <c:pt idx="3846">
                  <c:v>-1.6295423127486316E-2</c:v>
                </c:pt>
                <c:pt idx="3847">
                  <c:v>-1.6967015694607287E-2</c:v>
                </c:pt>
                <c:pt idx="3848">
                  <c:v>-1.7507805497719742E-2</c:v>
                </c:pt>
                <c:pt idx="3849">
                  <c:v>-1.7933447617894789E-2</c:v>
                </c:pt>
                <c:pt idx="3850">
                  <c:v>-1.8062774797787041E-2</c:v>
                </c:pt>
                <c:pt idx="3851">
                  <c:v>-1.82091091165969E-2</c:v>
                </c:pt>
                <c:pt idx="3852">
                  <c:v>-1.8314870708206862E-2</c:v>
                </c:pt>
                <c:pt idx="3853">
                  <c:v>-1.8371741772286433E-2</c:v>
                </c:pt>
                <c:pt idx="3854">
                  <c:v>-1.848634394384311E-2</c:v>
                </c:pt>
                <c:pt idx="3855">
                  <c:v>-1.8510015779524679E-2</c:v>
                </c:pt>
                <c:pt idx="3856">
                  <c:v>-1.8615423968413435E-2</c:v>
                </c:pt>
                <c:pt idx="3857">
                  <c:v>-1.8819220359111426E-2</c:v>
                </c:pt>
                <c:pt idx="3858">
                  <c:v>-1.9048414920160128E-2</c:v>
                </c:pt>
                <c:pt idx="3859">
                  <c:v>-1.91592448851092E-2</c:v>
                </c:pt>
                <c:pt idx="3860">
                  <c:v>-1.9242440884625095E-2</c:v>
                </c:pt>
                <c:pt idx="3861">
                  <c:v>-1.932333868311898E-2</c:v>
                </c:pt>
                <c:pt idx="3862">
                  <c:v>-1.9350911924271821E-2</c:v>
                </c:pt>
                <c:pt idx="3863">
                  <c:v>-1.9351132400297004E-2</c:v>
                </c:pt>
                <c:pt idx="3864">
                  <c:v>-2.0157608522309998E-2</c:v>
                </c:pt>
                <c:pt idx="3865">
                  <c:v>-2.1112636751735782E-2</c:v>
                </c:pt>
                <c:pt idx="3866">
                  <c:v>-2.1947420356426994E-2</c:v>
                </c:pt>
                <c:pt idx="3867">
                  <c:v>-2.1847327457860562E-2</c:v>
                </c:pt>
                <c:pt idx="3868">
                  <c:v>-2.1954422021853062E-2</c:v>
                </c:pt>
                <c:pt idx="3869">
                  <c:v>-2.2069904584506542E-2</c:v>
                </c:pt>
                <c:pt idx="3870">
                  <c:v>-2.2402820900135456E-2</c:v>
                </c:pt>
                <c:pt idx="3871">
                  <c:v>-2.2436026255952559E-2</c:v>
                </c:pt>
                <c:pt idx="3872">
                  <c:v>-2.2078636575902328E-2</c:v>
                </c:pt>
                <c:pt idx="3873">
                  <c:v>-2.1480460803608901E-2</c:v>
                </c:pt>
                <c:pt idx="3874">
                  <c:v>-2.0939608615551351E-2</c:v>
                </c:pt>
                <c:pt idx="3875">
                  <c:v>-2.0684278301036203E-2</c:v>
                </c:pt>
                <c:pt idx="3876">
                  <c:v>-2.0538674544049212E-2</c:v>
                </c:pt>
                <c:pt idx="3877">
                  <c:v>-1.9863711714579464E-2</c:v>
                </c:pt>
                <c:pt idx="3878">
                  <c:v>-1.9270997496440696E-2</c:v>
                </c:pt>
                <c:pt idx="3879">
                  <c:v>-1.8704265399240555E-2</c:v>
                </c:pt>
                <c:pt idx="3880">
                  <c:v>-1.8324036520967795E-2</c:v>
                </c:pt>
                <c:pt idx="3881">
                  <c:v>-1.8574333091103498E-2</c:v>
                </c:pt>
                <c:pt idx="3882">
                  <c:v>-1.9452800634216907E-2</c:v>
                </c:pt>
                <c:pt idx="3883">
                  <c:v>-2.0379893662208673E-2</c:v>
                </c:pt>
                <c:pt idx="3884">
                  <c:v>-2.1048377020246159E-2</c:v>
                </c:pt>
                <c:pt idx="3885">
                  <c:v>-2.1777206909534642E-2</c:v>
                </c:pt>
                <c:pt idx="3886">
                  <c:v>-2.1926800933543877E-2</c:v>
                </c:pt>
                <c:pt idx="3887">
                  <c:v>-2.1205276895530568E-2</c:v>
                </c:pt>
                <c:pt idx="3888">
                  <c:v>-2.05549986111833E-2</c:v>
                </c:pt>
                <c:pt idx="3889">
                  <c:v>-2.073665194632612E-2</c:v>
                </c:pt>
                <c:pt idx="3890">
                  <c:v>-2.0607350672689224E-2</c:v>
                </c:pt>
                <c:pt idx="3891">
                  <c:v>-2.0566695949043243E-2</c:v>
                </c:pt>
                <c:pt idx="3892">
                  <c:v>-2.0447620143677056E-2</c:v>
                </c:pt>
                <c:pt idx="3893">
                  <c:v>-2.0262801498033875E-2</c:v>
                </c:pt>
                <c:pt idx="3894">
                  <c:v>-1.980644273914579E-2</c:v>
                </c:pt>
                <c:pt idx="3895">
                  <c:v>-1.9075006837797077E-2</c:v>
                </c:pt>
                <c:pt idx="3896">
                  <c:v>-1.8522896768372751E-2</c:v>
                </c:pt>
                <c:pt idx="3897">
                  <c:v>-1.8354354541889877E-2</c:v>
                </c:pt>
                <c:pt idx="3898">
                  <c:v>-1.8572401197765057E-2</c:v>
                </c:pt>
                <c:pt idx="3899">
                  <c:v>-1.8670557702653402E-2</c:v>
                </c:pt>
                <c:pt idx="3900">
                  <c:v>-1.8846854867383377E-2</c:v>
                </c:pt>
                <c:pt idx="3901">
                  <c:v>-1.9011572564709533E-2</c:v>
                </c:pt>
                <c:pt idx="3902">
                  <c:v>-1.9385561946119095E-2</c:v>
                </c:pt>
                <c:pt idx="3903">
                  <c:v>-1.9678125556559817E-2</c:v>
                </c:pt>
                <c:pt idx="3904">
                  <c:v>-1.9968282694678263E-2</c:v>
                </c:pt>
                <c:pt idx="3905">
                  <c:v>-2.0163252405217692E-2</c:v>
                </c:pt>
                <c:pt idx="3906">
                  <c:v>-2.0286707563152675E-2</c:v>
                </c:pt>
                <c:pt idx="3907">
                  <c:v>-2.0418905149551091E-2</c:v>
                </c:pt>
                <c:pt idx="3908">
                  <c:v>-2.0447535784931876E-2</c:v>
                </c:pt>
                <c:pt idx="3909">
                  <c:v>-2.0373990992100698E-2</c:v>
                </c:pt>
                <c:pt idx="3910">
                  <c:v>-2.0295244366421848E-2</c:v>
                </c:pt>
                <c:pt idx="3911">
                  <c:v>-2.0173646933794913E-2</c:v>
                </c:pt>
                <c:pt idx="3912">
                  <c:v>-1.9835563476633074E-2</c:v>
                </c:pt>
                <c:pt idx="3913">
                  <c:v>-1.9377926440472676E-2</c:v>
                </c:pt>
                <c:pt idx="3914">
                  <c:v>-1.8875395520996048E-2</c:v>
                </c:pt>
                <c:pt idx="3915">
                  <c:v>-1.8633486513747084E-2</c:v>
                </c:pt>
                <c:pt idx="3916">
                  <c:v>-1.8518046978709457E-2</c:v>
                </c:pt>
                <c:pt idx="3917">
                  <c:v>-1.9157141706130264E-2</c:v>
                </c:pt>
                <c:pt idx="3918">
                  <c:v>-1.9914716598431172E-2</c:v>
                </c:pt>
                <c:pt idx="3919">
                  <c:v>-1.9055031083112128E-2</c:v>
                </c:pt>
                <c:pt idx="3920">
                  <c:v>-1.9406403284386229E-2</c:v>
                </c:pt>
                <c:pt idx="3921">
                  <c:v>-1.9380734831583868E-2</c:v>
                </c:pt>
                <c:pt idx="3922">
                  <c:v>-1.9354914740882363E-2</c:v>
                </c:pt>
                <c:pt idx="3923">
                  <c:v>-1.8995990522495336E-2</c:v>
                </c:pt>
                <c:pt idx="3924">
                  <c:v>-1.8387633371292435E-2</c:v>
                </c:pt>
                <c:pt idx="3925">
                  <c:v>-1.7948603378928774E-2</c:v>
                </c:pt>
                <c:pt idx="3926">
                  <c:v>-1.813979168772328E-2</c:v>
                </c:pt>
                <c:pt idx="3927">
                  <c:v>-1.8557772224275217E-2</c:v>
                </c:pt>
                <c:pt idx="3928">
                  <c:v>-1.8638226392156471E-2</c:v>
                </c:pt>
                <c:pt idx="3929">
                  <c:v>-1.8763050773654852E-2</c:v>
                </c:pt>
                <c:pt idx="3930">
                  <c:v>-1.85390594780388E-2</c:v>
                </c:pt>
                <c:pt idx="3931">
                  <c:v>-1.8129164097799133E-2</c:v>
                </c:pt>
                <c:pt idx="3932">
                  <c:v>-1.7788167882823204E-2</c:v>
                </c:pt>
                <c:pt idx="3933">
                  <c:v>-1.7775394279657963E-2</c:v>
                </c:pt>
                <c:pt idx="3934">
                  <c:v>-1.776199012335342E-2</c:v>
                </c:pt>
                <c:pt idx="3935">
                  <c:v>-1.7823499390315061E-2</c:v>
                </c:pt>
                <c:pt idx="3936">
                  <c:v>-1.7907284354949982E-2</c:v>
                </c:pt>
                <c:pt idx="3937">
                  <c:v>-1.7813842068298037E-2</c:v>
                </c:pt>
                <c:pt idx="3938">
                  <c:v>-1.7187918789254131E-2</c:v>
                </c:pt>
                <c:pt idx="3939">
                  <c:v>-1.6706922161639829E-2</c:v>
                </c:pt>
                <c:pt idx="3940">
                  <c:v>-1.6771049259223653E-2</c:v>
                </c:pt>
                <c:pt idx="3941">
                  <c:v>-1.6976990399943152E-2</c:v>
                </c:pt>
                <c:pt idx="3942">
                  <c:v>-1.7235152940015375E-2</c:v>
                </c:pt>
                <c:pt idx="3943">
                  <c:v>-1.7496578514360549E-2</c:v>
                </c:pt>
                <c:pt idx="3944">
                  <c:v>-1.7916092720826737E-2</c:v>
                </c:pt>
                <c:pt idx="3945">
                  <c:v>-1.8242563532123737E-2</c:v>
                </c:pt>
                <c:pt idx="3946">
                  <c:v>-1.8746085947045389E-2</c:v>
                </c:pt>
                <c:pt idx="3947">
                  <c:v>-1.8369124355668003E-2</c:v>
                </c:pt>
                <c:pt idx="3948">
                  <c:v>-1.8054599665232832E-2</c:v>
                </c:pt>
                <c:pt idx="3949">
                  <c:v>-1.821180681745109E-2</c:v>
                </c:pt>
                <c:pt idx="3950">
                  <c:v>-1.7849960231793634E-2</c:v>
                </c:pt>
                <c:pt idx="3951">
                  <c:v>-1.7471042345938551E-2</c:v>
                </c:pt>
                <c:pt idx="3952">
                  <c:v>-1.6927129161812805E-2</c:v>
                </c:pt>
                <c:pt idx="3953">
                  <c:v>-1.6770379633265425E-2</c:v>
                </c:pt>
                <c:pt idx="3954">
                  <c:v>-1.6913436198152405E-2</c:v>
                </c:pt>
                <c:pt idx="3955">
                  <c:v>-1.7454089987207308E-2</c:v>
                </c:pt>
                <c:pt idx="3956">
                  <c:v>-1.7690133593173243E-2</c:v>
                </c:pt>
                <c:pt idx="3957">
                  <c:v>-1.7488577559972254E-2</c:v>
                </c:pt>
                <c:pt idx="3958">
                  <c:v>-1.7246241795741822E-2</c:v>
                </c:pt>
                <c:pt idx="3959">
                  <c:v>-1.7041796069887736E-2</c:v>
                </c:pt>
                <c:pt idx="3960">
                  <c:v>-1.6975319955470275E-2</c:v>
                </c:pt>
                <c:pt idx="3961">
                  <c:v>-1.7031294837203434E-2</c:v>
                </c:pt>
                <c:pt idx="3962">
                  <c:v>-1.7103621239178551E-2</c:v>
                </c:pt>
                <c:pt idx="3963">
                  <c:v>-1.7299818326500866E-2</c:v>
                </c:pt>
                <c:pt idx="3964">
                  <c:v>-1.7445302684530293E-2</c:v>
                </c:pt>
                <c:pt idx="3965">
                  <c:v>-1.7346027644924968E-2</c:v>
                </c:pt>
                <c:pt idx="3966">
                  <c:v>-1.7037173985565267E-2</c:v>
                </c:pt>
                <c:pt idx="3967">
                  <c:v>-1.6579576948748627E-2</c:v>
                </c:pt>
                <c:pt idx="3968">
                  <c:v>-1.6507005721601548E-2</c:v>
                </c:pt>
                <c:pt idx="3969">
                  <c:v>-1.6724275889758715E-2</c:v>
                </c:pt>
                <c:pt idx="3970">
                  <c:v>-1.7224811633461224E-2</c:v>
                </c:pt>
                <c:pt idx="3971">
                  <c:v>-1.8051614305647567E-2</c:v>
                </c:pt>
                <c:pt idx="3972">
                  <c:v>-1.9002004580119546E-2</c:v>
                </c:pt>
                <c:pt idx="3973">
                  <c:v>-1.9829899510204668E-2</c:v>
                </c:pt>
                <c:pt idx="3974">
                  <c:v>-2.0512288561578097E-2</c:v>
                </c:pt>
                <c:pt idx="3975">
                  <c:v>-2.0894673245601302E-2</c:v>
                </c:pt>
                <c:pt idx="3976">
                  <c:v>-2.1318776136399153E-2</c:v>
                </c:pt>
                <c:pt idx="3977">
                  <c:v>-2.1689118660782169E-2</c:v>
                </c:pt>
                <c:pt idx="3978">
                  <c:v>-2.1909363979650646E-2</c:v>
                </c:pt>
                <c:pt idx="3979">
                  <c:v>-2.1801222111083117E-2</c:v>
                </c:pt>
                <c:pt idx="3980">
                  <c:v>-2.1435743544356508E-2</c:v>
                </c:pt>
                <c:pt idx="3981">
                  <c:v>-2.0853224848460077E-2</c:v>
                </c:pt>
                <c:pt idx="3982">
                  <c:v>-2.0245203489294924E-2</c:v>
                </c:pt>
                <c:pt idx="3983">
                  <c:v>-1.9554045789102418E-2</c:v>
                </c:pt>
                <c:pt idx="3984">
                  <c:v>-1.9031385825271148E-2</c:v>
                </c:pt>
                <c:pt idx="3985">
                  <c:v>-1.8519079301181275E-2</c:v>
                </c:pt>
                <c:pt idx="3986">
                  <c:v>-1.7994344251886188E-2</c:v>
                </c:pt>
                <c:pt idx="3987">
                  <c:v>-1.7494949227010163E-2</c:v>
                </c:pt>
                <c:pt idx="3988">
                  <c:v>-1.7027145806636945E-2</c:v>
                </c:pt>
                <c:pt idx="3989">
                  <c:v>-1.6322814321077107E-2</c:v>
                </c:pt>
                <c:pt idx="3990">
                  <c:v>-1.5759215351075814E-2</c:v>
                </c:pt>
                <c:pt idx="3991">
                  <c:v>-1.5252866791225932E-2</c:v>
                </c:pt>
                <c:pt idx="3992">
                  <c:v>-1.5289006846501606E-2</c:v>
                </c:pt>
                <c:pt idx="3993">
                  <c:v>-1.5767229705915771E-2</c:v>
                </c:pt>
                <c:pt idx="3994">
                  <c:v>-1.6006775900576153E-2</c:v>
                </c:pt>
                <c:pt idx="3995">
                  <c:v>-1.6196607096448986E-2</c:v>
                </c:pt>
                <c:pt idx="3996">
                  <c:v>-1.633917261959238E-2</c:v>
                </c:pt>
                <c:pt idx="3997">
                  <c:v>-1.6514859453854707E-2</c:v>
                </c:pt>
                <c:pt idx="3998">
                  <c:v>-1.7167556970926645E-2</c:v>
                </c:pt>
                <c:pt idx="3999">
                  <c:v>-1.7846018730571109E-2</c:v>
                </c:pt>
                <c:pt idx="4000">
                  <c:v>-1.8692750082502138E-2</c:v>
                </c:pt>
                <c:pt idx="4001">
                  <c:v>-1.8047792868703956E-2</c:v>
                </c:pt>
                <c:pt idx="4002">
                  <c:v>-1.510205686761594E-2</c:v>
                </c:pt>
                <c:pt idx="4003">
                  <c:v>-1.3259506505797242E-2</c:v>
                </c:pt>
                <c:pt idx="4004">
                  <c:v>-1.2348802044964094E-2</c:v>
                </c:pt>
                <c:pt idx="4005">
                  <c:v>-1.2969669836132377E-2</c:v>
                </c:pt>
                <c:pt idx="4006">
                  <c:v>-1.3797096282312717E-2</c:v>
                </c:pt>
                <c:pt idx="4007">
                  <c:v>-1.4605955799651201E-2</c:v>
                </c:pt>
                <c:pt idx="4008">
                  <c:v>-1.5394076076458802E-2</c:v>
                </c:pt>
                <c:pt idx="4009">
                  <c:v>-1.5812406153466928E-2</c:v>
                </c:pt>
                <c:pt idx="4010">
                  <c:v>-1.6307155032495489E-2</c:v>
                </c:pt>
                <c:pt idx="4011">
                  <c:v>-1.602234448105213E-2</c:v>
                </c:pt>
                <c:pt idx="4012">
                  <c:v>-1.607580807178912E-2</c:v>
                </c:pt>
                <c:pt idx="4013">
                  <c:v>-1.6296259242703448E-2</c:v>
                </c:pt>
                <c:pt idx="4014">
                  <c:v>-1.6206029736826912E-2</c:v>
                </c:pt>
                <c:pt idx="4015">
                  <c:v>-1.5444405018500494E-2</c:v>
                </c:pt>
                <c:pt idx="4016">
                  <c:v>-1.5142950781741948E-2</c:v>
                </c:pt>
                <c:pt idx="4017">
                  <c:v>-1.4628440973694411E-2</c:v>
                </c:pt>
                <c:pt idx="4018">
                  <c:v>-1.3998997160148323E-2</c:v>
                </c:pt>
                <c:pt idx="4019">
                  <c:v>-1.3660998128337756E-2</c:v>
                </c:pt>
                <c:pt idx="4020">
                  <c:v>-1.3278364352370915E-2</c:v>
                </c:pt>
                <c:pt idx="4021">
                  <c:v>-1.3322699649266953E-2</c:v>
                </c:pt>
                <c:pt idx="4022">
                  <c:v>-1.3407169462428224E-2</c:v>
                </c:pt>
                <c:pt idx="4023">
                  <c:v>-1.342689040823941E-2</c:v>
                </c:pt>
                <c:pt idx="4024">
                  <c:v>-1.3386300961721545E-2</c:v>
                </c:pt>
                <c:pt idx="4025">
                  <c:v>-1.3713309526685485E-2</c:v>
                </c:pt>
                <c:pt idx="4026">
                  <c:v>-1.4308363901640676E-2</c:v>
                </c:pt>
                <c:pt idx="4027">
                  <c:v>-1.4874029123234891E-2</c:v>
                </c:pt>
                <c:pt idx="4028">
                  <c:v>-1.5671113635489689E-2</c:v>
                </c:pt>
                <c:pt idx="4029">
                  <c:v>-1.6324556115221354E-2</c:v>
                </c:pt>
                <c:pt idx="4030">
                  <c:v>-1.6659536669817405E-2</c:v>
                </c:pt>
                <c:pt idx="4031">
                  <c:v>-1.6550012197526789E-2</c:v>
                </c:pt>
                <c:pt idx="4032">
                  <c:v>-1.6954694136696251E-2</c:v>
                </c:pt>
                <c:pt idx="4033">
                  <c:v>-1.745632588106422E-2</c:v>
                </c:pt>
                <c:pt idx="4034">
                  <c:v>-1.8161893093029902E-2</c:v>
                </c:pt>
                <c:pt idx="4035">
                  <c:v>-1.8661134770086144E-2</c:v>
                </c:pt>
                <c:pt idx="4036">
                  <c:v>-1.8845924868551914E-2</c:v>
                </c:pt>
                <c:pt idx="4037">
                  <c:v>-1.8829084927176228E-2</c:v>
                </c:pt>
                <c:pt idx="4038">
                  <c:v>-1.8804797924400346E-2</c:v>
                </c:pt>
                <c:pt idx="4039">
                  <c:v>-1.9090061622394787E-2</c:v>
                </c:pt>
                <c:pt idx="4040">
                  <c:v>-1.897658008539875E-2</c:v>
                </c:pt>
                <c:pt idx="4041">
                  <c:v>-2.00220077161649E-2</c:v>
                </c:pt>
                <c:pt idx="4042">
                  <c:v>-1.9833337385023329E-2</c:v>
                </c:pt>
                <c:pt idx="4043">
                  <c:v>-1.9613578568465247E-2</c:v>
                </c:pt>
                <c:pt idx="4044">
                  <c:v>-1.9815287368990662E-2</c:v>
                </c:pt>
                <c:pt idx="4045">
                  <c:v>-2.1705078718036147E-2</c:v>
                </c:pt>
                <c:pt idx="4046">
                  <c:v>-2.1573376157152505E-2</c:v>
                </c:pt>
                <c:pt idx="4047">
                  <c:v>-2.1464118169087117E-2</c:v>
                </c:pt>
                <c:pt idx="4048">
                  <c:v>-2.1286475303532157E-2</c:v>
                </c:pt>
                <c:pt idx="4049">
                  <c:v>-2.0992592445871726E-2</c:v>
                </c:pt>
                <c:pt idx="4050">
                  <c:v>-2.0676603338070892E-2</c:v>
                </c:pt>
                <c:pt idx="4051">
                  <c:v>-2.0564598511249331E-2</c:v>
                </c:pt>
                <c:pt idx="4052">
                  <c:v>-2.0653637886217633E-2</c:v>
                </c:pt>
                <c:pt idx="4053">
                  <c:v>-2.1080652705525872E-2</c:v>
                </c:pt>
                <c:pt idx="4054">
                  <c:v>-2.1420243729485759E-2</c:v>
                </c:pt>
                <c:pt idx="4055">
                  <c:v>-2.1486933391722161E-2</c:v>
                </c:pt>
                <c:pt idx="4056">
                  <c:v>-2.1227533149192082E-2</c:v>
                </c:pt>
                <c:pt idx="4057">
                  <c:v>-2.0980742403936617E-2</c:v>
                </c:pt>
                <c:pt idx="4058">
                  <c:v>-1.9383455335371225E-2</c:v>
                </c:pt>
                <c:pt idx="4059">
                  <c:v>-1.825149527115854E-2</c:v>
                </c:pt>
                <c:pt idx="4060">
                  <c:v>-1.7589143952498137E-2</c:v>
                </c:pt>
                <c:pt idx="4061">
                  <c:v>-1.7415634101170474E-2</c:v>
                </c:pt>
                <c:pt idx="4062">
                  <c:v>-1.7455135851483075E-2</c:v>
                </c:pt>
                <c:pt idx="4063">
                  <c:v>-1.7471500803975866E-2</c:v>
                </c:pt>
                <c:pt idx="4064">
                  <c:v>-1.7193074586319353E-2</c:v>
                </c:pt>
                <c:pt idx="4065">
                  <c:v>-1.6475564390094049E-2</c:v>
                </c:pt>
                <c:pt idx="4066">
                  <c:v>-1.5755695634432312E-2</c:v>
                </c:pt>
                <c:pt idx="4067">
                  <c:v>-1.5609834380613075E-2</c:v>
                </c:pt>
                <c:pt idx="4068">
                  <c:v>-1.5510100173352262E-2</c:v>
                </c:pt>
                <c:pt idx="4069">
                  <c:v>-1.5170845455975409E-2</c:v>
                </c:pt>
                <c:pt idx="4070">
                  <c:v>-1.4923116876469252E-2</c:v>
                </c:pt>
                <c:pt idx="4071">
                  <c:v>-1.4974850965442313E-2</c:v>
                </c:pt>
                <c:pt idx="4072">
                  <c:v>-1.5389495643241767E-2</c:v>
                </c:pt>
                <c:pt idx="4073">
                  <c:v>-1.6131223901683207E-2</c:v>
                </c:pt>
                <c:pt idx="4074">
                  <c:v>-1.6937708218683133E-2</c:v>
                </c:pt>
                <c:pt idx="4075">
                  <c:v>-1.8079820563488502E-2</c:v>
                </c:pt>
                <c:pt idx="4076">
                  <c:v>-1.9083184824366273E-2</c:v>
                </c:pt>
                <c:pt idx="4077">
                  <c:v>-1.9439475979743732E-2</c:v>
                </c:pt>
                <c:pt idx="4078">
                  <c:v>-1.9503171728913523E-2</c:v>
                </c:pt>
                <c:pt idx="4079">
                  <c:v>-1.9545908354315536E-2</c:v>
                </c:pt>
                <c:pt idx="4080">
                  <c:v>-1.9564782506984457E-2</c:v>
                </c:pt>
                <c:pt idx="4081">
                  <c:v>-1.9535912410257178E-2</c:v>
                </c:pt>
                <c:pt idx="4082">
                  <c:v>-1.9423597442513235E-2</c:v>
                </c:pt>
                <c:pt idx="4083">
                  <c:v>-1.8669775712700461E-2</c:v>
                </c:pt>
                <c:pt idx="4084">
                  <c:v>-1.8336437029888422E-2</c:v>
                </c:pt>
                <c:pt idx="4085">
                  <c:v>-1.8231578259631509E-2</c:v>
                </c:pt>
                <c:pt idx="4086">
                  <c:v>-1.8043552985808928E-2</c:v>
                </c:pt>
                <c:pt idx="4087">
                  <c:v>-1.7758968565261997E-2</c:v>
                </c:pt>
                <c:pt idx="4088">
                  <c:v>-1.7957457676350059E-2</c:v>
                </c:pt>
                <c:pt idx="4089">
                  <c:v>-1.823298161570874E-2</c:v>
                </c:pt>
                <c:pt idx="4090">
                  <c:v>-1.8695858265629473E-2</c:v>
                </c:pt>
                <c:pt idx="4091">
                  <c:v>-1.8952433218609722E-2</c:v>
                </c:pt>
                <c:pt idx="4092">
                  <c:v>-1.885307170498602E-2</c:v>
                </c:pt>
                <c:pt idx="4093">
                  <c:v>-1.8132496620876053E-2</c:v>
                </c:pt>
                <c:pt idx="4094">
                  <c:v>-1.7707845687278061E-2</c:v>
                </c:pt>
                <c:pt idx="4095">
                  <c:v>-1.76383486309892E-2</c:v>
                </c:pt>
                <c:pt idx="4096">
                  <c:v>-1.8043142957463922E-2</c:v>
                </c:pt>
                <c:pt idx="4097">
                  <c:v>-1.8290067344902954E-2</c:v>
                </c:pt>
                <c:pt idx="4098">
                  <c:v>-1.8579605045883917E-2</c:v>
                </c:pt>
                <c:pt idx="4099">
                  <c:v>-1.8844001968433086E-2</c:v>
                </c:pt>
                <c:pt idx="4100">
                  <c:v>-1.9244219505831613E-2</c:v>
                </c:pt>
                <c:pt idx="4101">
                  <c:v>-1.9751138200715904E-2</c:v>
                </c:pt>
                <c:pt idx="4102">
                  <c:v>-2.0125340167602895E-2</c:v>
                </c:pt>
                <c:pt idx="4103">
                  <c:v>-2.0255408600035146E-2</c:v>
                </c:pt>
                <c:pt idx="4104">
                  <c:v>-2.0042694755459552E-2</c:v>
                </c:pt>
                <c:pt idx="4105">
                  <c:v>-1.9393564381535968E-2</c:v>
                </c:pt>
                <c:pt idx="4106">
                  <c:v>-1.8528341713819764E-2</c:v>
                </c:pt>
                <c:pt idx="4107">
                  <c:v>-1.8047385852939621E-2</c:v>
                </c:pt>
                <c:pt idx="4108">
                  <c:v>-1.7917655092953053E-2</c:v>
                </c:pt>
                <c:pt idx="4109">
                  <c:v>-1.7348093485398296E-2</c:v>
                </c:pt>
                <c:pt idx="4110">
                  <c:v>-1.8086474204893226E-2</c:v>
                </c:pt>
                <c:pt idx="4111">
                  <c:v>-1.8965774362404413E-2</c:v>
                </c:pt>
                <c:pt idx="4112">
                  <c:v>-1.9719520355417769E-2</c:v>
                </c:pt>
                <c:pt idx="4113">
                  <c:v>-1.9422195919292756E-2</c:v>
                </c:pt>
                <c:pt idx="4114">
                  <c:v>-2.0174051802854091E-2</c:v>
                </c:pt>
                <c:pt idx="4115">
                  <c:v>-2.0558166974970891E-2</c:v>
                </c:pt>
                <c:pt idx="4116">
                  <c:v>-2.0898896946700253E-2</c:v>
                </c:pt>
                <c:pt idx="4117">
                  <c:v>-2.0631193467449051E-2</c:v>
                </c:pt>
                <c:pt idx="4118">
                  <c:v>-2.1016391173907991E-2</c:v>
                </c:pt>
                <c:pt idx="4119">
                  <c:v>-2.1124637231570778E-2</c:v>
                </c:pt>
                <c:pt idx="4120">
                  <c:v>-2.1053290687461278E-2</c:v>
                </c:pt>
                <c:pt idx="4121">
                  <c:v>-2.0790334740306171E-2</c:v>
                </c:pt>
                <c:pt idx="4122">
                  <c:v>-2.0791055681195512E-2</c:v>
                </c:pt>
                <c:pt idx="4123">
                  <c:v>-2.123246489363436E-2</c:v>
                </c:pt>
                <c:pt idx="4124">
                  <c:v>-2.1605618240151888E-2</c:v>
                </c:pt>
                <c:pt idx="4125">
                  <c:v>-2.1876576868702133E-2</c:v>
                </c:pt>
                <c:pt idx="4126">
                  <c:v>-2.1748724377701117E-2</c:v>
                </c:pt>
                <c:pt idx="4127">
                  <c:v>-2.1455525373473137E-2</c:v>
                </c:pt>
                <c:pt idx="4128">
                  <c:v>-2.1022883626610089E-2</c:v>
                </c:pt>
                <c:pt idx="4129">
                  <c:v>-2.0797333886092832E-2</c:v>
                </c:pt>
                <c:pt idx="4130">
                  <c:v>-2.0555875011597516E-2</c:v>
                </c:pt>
                <c:pt idx="4131">
                  <c:v>-2.0289959190176832E-2</c:v>
                </c:pt>
                <c:pt idx="4132">
                  <c:v>-2.0133199652850334E-2</c:v>
                </c:pt>
                <c:pt idx="4133">
                  <c:v>-2.0169806233102688E-2</c:v>
                </c:pt>
                <c:pt idx="4134">
                  <c:v>-2.0377080600892709E-2</c:v>
                </c:pt>
                <c:pt idx="4135">
                  <c:v>-2.0684702755095888E-2</c:v>
                </c:pt>
                <c:pt idx="4136">
                  <c:v>-2.0954891449003536E-2</c:v>
                </c:pt>
                <c:pt idx="4137">
                  <c:v>-2.1211712814849813E-2</c:v>
                </c:pt>
                <c:pt idx="4138">
                  <c:v>-2.136288840423415E-2</c:v>
                </c:pt>
                <c:pt idx="4139">
                  <c:v>-2.2133155527884051E-2</c:v>
                </c:pt>
                <c:pt idx="4140">
                  <c:v>-2.2043015774330869E-2</c:v>
                </c:pt>
                <c:pt idx="4141">
                  <c:v>-2.1718712405040287E-2</c:v>
                </c:pt>
                <c:pt idx="4142">
                  <c:v>-2.1460173883965393E-2</c:v>
                </c:pt>
                <c:pt idx="4143">
                  <c:v>-2.3637313945756844E-2</c:v>
                </c:pt>
                <c:pt idx="4144">
                  <c:v>-2.2864425250738403E-2</c:v>
                </c:pt>
                <c:pt idx="4145">
                  <c:v>-2.1912880664239597E-2</c:v>
                </c:pt>
                <c:pt idx="4146">
                  <c:v>-2.04268932040296E-2</c:v>
                </c:pt>
                <c:pt idx="4147">
                  <c:v>-1.9565911555255871E-2</c:v>
                </c:pt>
                <c:pt idx="4148">
                  <c:v>-1.8044526817529258E-2</c:v>
                </c:pt>
                <c:pt idx="4149">
                  <c:v>-1.7051250008389619E-2</c:v>
                </c:pt>
                <c:pt idx="4150">
                  <c:v>-1.6292510354571871E-2</c:v>
                </c:pt>
                <c:pt idx="4151">
                  <c:v>-1.7122308880582707E-2</c:v>
                </c:pt>
                <c:pt idx="4152">
                  <c:v>-1.7935005112316205E-2</c:v>
                </c:pt>
                <c:pt idx="4153">
                  <c:v>-1.8504048195851386E-2</c:v>
                </c:pt>
                <c:pt idx="4154">
                  <c:v>-1.9082135552600913E-2</c:v>
                </c:pt>
                <c:pt idx="4155">
                  <c:v>-1.9858722076657058E-2</c:v>
                </c:pt>
                <c:pt idx="4156">
                  <c:v>-2.0763610428817032E-2</c:v>
                </c:pt>
                <c:pt idx="4157">
                  <c:v>-2.1439774996674692E-2</c:v>
                </c:pt>
                <c:pt idx="4158">
                  <c:v>-2.1839326737777998E-2</c:v>
                </c:pt>
                <c:pt idx="4159">
                  <c:v>-2.2146295338514241E-2</c:v>
                </c:pt>
                <c:pt idx="4160">
                  <c:v>-2.239952943211946E-2</c:v>
                </c:pt>
                <c:pt idx="4161">
                  <c:v>-2.2484033493808359E-2</c:v>
                </c:pt>
                <c:pt idx="4162">
                  <c:v>-2.2351657723917173E-2</c:v>
                </c:pt>
                <c:pt idx="4163">
                  <c:v>-2.185394253329935E-2</c:v>
                </c:pt>
                <c:pt idx="4164">
                  <c:v>-2.150846714301478E-2</c:v>
                </c:pt>
                <c:pt idx="4165">
                  <c:v>-2.1397409650373785E-2</c:v>
                </c:pt>
                <c:pt idx="4166">
                  <c:v>-2.1445451550370448E-2</c:v>
                </c:pt>
                <c:pt idx="4167">
                  <c:v>-2.1644596784275903E-2</c:v>
                </c:pt>
                <c:pt idx="4168">
                  <c:v>-2.1971522282859167E-2</c:v>
                </c:pt>
                <c:pt idx="4169">
                  <c:v>-2.1614665895105297E-2</c:v>
                </c:pt>
                <c:pt idx="4170">
                  <c:v>-2.1903286595918205E-2</c:v>
                </c:pt>
                <c:pt idx="4171">
                  <c:v>-2.208776022721138E-2</c:v>
                </c:pt>
                <c:pt idx="4172">
                  <c:v>-2.210289994987219E-2</c:v>
                </c:pt>
                <c:pt idx="4173">
                  <c:v>-2.1940986786102519E-2</c:v>
                </c:pt>
                <c:pt idx="4174">
                  <c:v>-2.1465022490472309E-2</c:v>
                </c:pt>
                <c:pt idx="4175">
                  <c:v>-1.9891172872977939E-2</c:v>
                </c:pt>
                <c:pt idx="4176">
                  <c:v>-1.2893783751142739E-2</c:v>
                </c:pt>
                <c:pt idx="4177">
                  <c:v>3.4198450434107817E-2</c:v>
                </c:pt>
                <c:pt idx="4178">
                  <c:v>5.3164358033600922E-2</c:v>
                </c:pt>
                <c:pt idx="4179">
                  <c:v>5.5212018698646115E-2</c:v>
                </c:pt>
                <c:pt idx="4180">
                  <c:v>6.3702398116721959E-2</c:v>
                </c:pt>
                <c:pt idx="4181">
                  <c:v>7.5575932979327368E-2</c:v>
                </c:pt>
                <c:pt idx="4182">
                  <c:v>8.4689672001441035E-2</c:v>
                </c:pt>
                <c:pt idx="4183">
                  <c:v>8.565942432026516E-2</c:v>
                </c:pt>
                <c:pt idx="4184">
                  <c:v>8.5583324684817094E-2</c:v>
                </c:pt>
                <c:pt idx="4185">
                  <c:v>8.5532647506162462E-2</c:v>
                </c:pt>
                <c:pt idx="4186">
                  <c:v>8.6127174145554944E-2</c:v>
                </c:pt>
                <c:pt idx="4187">
                  <c:v>8.7048943449703473E-2</c:v>
                </c:pt>
                <c:pt idx="4188">
                  <c:v>8.8114295292767292E-2</c:v>
                </c:pt>
                <c:pt idx="4189">
                  <c:v>8.9277289001413448E-2</c:v>
                </c:pt>
                <c:pt idx="4190">
                  <c:v>9.0861444494807847E-2</c:v>
                </c:pt>
                <c:pt idx="4191">
                  <c:v>9.2823142292919228E-2</c:v>
                </c:pt>
                <c:pt idx="4192">
                  <c:v>9.5318222253234997E-2</c:v>
                </c:pt>
                <c:pt idx="4193">
                  <c:v>9.6709447303497759E-2</c:v>
                </c:pt>
                <c:pt idx="4194">
                  <c:v>9.7418156471371475E-2</c:v>
                </c:pt>
                <c:pt idx="4195">
                  <c:v>9.7461079706884557E-2</c:v>
                </c:pt>
                <c:pt idx="4196">
                  <c:v>9.7508388322234088E-2</c:v>
                </c:pt>
                <c:pt idx="4197">
                  <c:v>9.747838889517027E-2</c:v>
                </c:pt>
                <c:pt idx="4198">
                  <c:v>9.7370219839740826E-2</c:v>
                </c:pt>
                <c:pt idx="4199">
                  <c:v>9.764697409381029E-2</c:v>
                </c:pt>
                <c:pt idx="4200">
                  <c:v>9.7674254006989703E-2</c:v>
                </c:pt>
                <c:pt idx="4201">
                  <c:v>9.76979130779424E-2</c:v>
                </c:pt>
                <c:pt idx="4202">
                  <c:v>9.7598658512162595E-2</c:v>
                </c:pt>
                <c:pt idx="4203">
                  <c:v>9.7602024012130903E-2</c:v>
                </c:pt>
                <c:pt idx="4204">
                  <c:v>9.8013357260936324E-2</c:v>
                </c:pt>
                <c:pt idx="4205">
                  <c:v>9.7689013758334262E-2</c:v>
                </c:pt>
                <c:pt idx="4206">
                  <c:v>9.9759588717497322E-2</c:v>
                </c:pt>
                <c:pt idx="4207">
                  <c:v>8.8475994523278992E-2</c:v>
                </c:pt>
                <c:pt idx="4208">
                  <c:v>7.7569338357154197E-2</c:v>
                </c:pt>
                <c:pt idx="4209">
                  <c:v>7.6333879212389821E-2</c:v>
                </c:pt>
                <c:pt idx="4210">
                  <c:v>6.7818016013223237E-2</c:v>
                </c:pt>
                <c:pt idx="4211">
                  <c:v>4.9626778313724085E-2</c:v>
                </c:pt>
                <c:pt idx="4212">
                  <c:v>2.2532842160404278E-2</c:v>
                </c:pt>
                <c:pt idx="4213">
                  <c:v>1.044217768604158E-2</c:v>
                </c:pt>
                <c:pt idx="4214">
                  <c:v>1.070536377485741E-3</c:v>
                </c:pt>
                <c:pt idx="4215">
                  <c:v>-9.0290699197410167E-3</c:v>
                </c:pt>
                <c:pt idx="4216">
                  <c:v>-1.1009802920895954E-2</c:v>
                </c:pt>
                <c:pt idx="4217">
                  <c:v>-1.2366914293028138E-2</c:v>
                </c:pt>
                <c:pt idx="4218">
                  <c:v>-1.2367462381182227E-2</c:v>
                </c:pt>
                <c:pt idx="4219">
                  <c:v>-1.2382480928874602E-2</c:v>
                </c:pt>
                <c:pt idx="4220">
                  <c:v>-1.2407351971720217E-2</c:v>
                </c:pt>
                <c:pt idx="4221">
                  <c:v>-1.2407356114526775E-2</c:v>
                </c:pt>
                <c:pt idx="4222">
                  <c:v>-1.2407349996501015E-2</c:v>
                </c:pt>
                <c:pt idx="4223">
                  <c:v>-1.2393820869449521E-2</c:v>
                </c:pt>
                <c:pt idx="4224">
                  <c:v>-1.2431345315873105E-2</c:v>
                </c:pt>
                <c:pt idx="4225">
                  <c:v>-1.243888813240506E-2</c:v>
                </c:pt>
                <c:pt idx="4226">
                  <c:v>-1.2460667385712915E-2</c:v>
                </c:pt>
                <c:pt idx="4227">
                  <c:v>-1.2459674227602023E-2</c:v>
                </c:pt>
                <c:pt idx="4228">
                  <c:v>-1.2459641232510749E-2</c:v>
                </c:pt>
                <c:pt idx="4229">
                  <c:v>-1.2500621955678352E-2</c:v>
                </c:pt>
                <c:pt idx="4230">
                  <c:v>-1.2536674941990959E-2</c:v>
                </c:pt>
                <c:pt idx="4231">
                  <c:v>-1.2577657912126844E-2</c:v>
                </c:pt>
                <c:pt idx="4232">
                  <c:v>-1.2535624138685456E-2</c:v>
                </c:pt>
                <c:pt idx="4233">
                  <c:v>-1.253569375681134E-2</c:v>
                </c:pt>
                <c:pt idx="4234">
                  <c:v>-1.2525000602430348E-2</c:v>
                </c:pt>
                <c:pt idx="4235">
                  <c:v>-1.2484080744259321E-2</c:v>
                </c:pt>
                <c:pt idx="4236">
                  <c:v>-1.2495801243831815E-2</c:v>
                </c:pt>
                <c:pt idx="4237">
                  <c:v>-1.2495927013721628E-2</c:v>
                </c:pt>
                <c:pt idx="4238">
                  <c:v>-1.2496077605925261E-2</c:v>
                </c:pt>
                <c:pt idx="4239">
                  <c:v>-1.2496469707585662E-2</c:v>
                </c:pt>
                <c:pt idx="4240">
                  <c:v>-1.2496676051673226E-2</c:v>
                </c:pt>
                <c:pt idx="4241">
                  <c:v>-1.2509481475895493E-2</c:v>
                </c:pt>
                <c:pt idx="4242">
                  <c:v>-1.2509914266940442E-2</c:v>
                </c:pt>
                <c:pt idx="4243">
                  <c:v>-1.2498002008950867E-2</c:v>
                </c:pt>
                <c:pt idx="4244">
                  <c:v>-1.2499219074315686E-2</c:v>
                </c:pt>
                <c:pt idx="4245">
                  <c:v>-1.2499347737433534E-2</c:v>
                </c:pt>
                <c:pt idx="4246">
                  <c:v>-1.2500962611151016E-2</c:v>
                </c:pt>
                <c:pt idx="4247">
                  <c:v>-1.2539055523687741E-2</c:v>
                </c:pt>
                <c:pt idx="4248">
                  <c:v>-1.2539211464395881E-2</c:v>
                </c:pt>
                <c:pt idx="4249">
                  <c:v>-1.2505671275308704E-2</c:v>
                </c:pt>
                <c:pt idx="4250">
                  <c:v>-1.2505852064541819E-2</c:v>
                </c:pt>
                <c:pt idx="4251">
                  <c:v>-1.2508759561739519E-2</c:v>
                </c:pt>
                <c:pt idx="4252">
                  <c:v>-1.2508891838240022E-2</c:v>
                </c:pt>
                <c:pt idx="4253">
                  <c:v>-1.2519177267120605E-2</c:v>
                </c:pt>
                <c:pt idx="4254">
                  <c:v>-1.2522146102474095E-2</c:v>
                </c:pt>
                <c:pt idx="4255">
                  <c:v>-1.2522233723554075E-2</c:v>
                </c:pt>
                <c:pt idx="4256">
                  <c:v>-1.253908642945315E-2</c:v>
                </c:pt>
                <c:pt idx="4257">
                  <c:v>-1.253917388287086E-2</c:v>
                </c:pt>
                <c:pt idx="4258">
                  <c:v>-1.2543098855943766E-2</c:v>
                </c:pt>
                <c:pt idx="4259">
                  <c:v>-1.2516987481668542E-2</c:v>
                </c:pt>
                <c:pt idx="4260">
                  <c:v>-1.2522456985678641E-2</c:v>
                </c:pt>
                <c:pt idx="4261">
                  <c:v>-1.2522461909858817E-2</c:v>
                </c:pt>
                <c:pt idx="4262">
                  <c:v>-1.2522463979826053E-2</c:v>
                </c:pt>
                <c:pt idx="4263">
                  <c:v>-1.2522462936561023E-2</c:v>
                </c:pt>
                <c:pt idx="4264">
                  <c:v>-1.253021767216448E-2</c:v>
                </c:pt>
                <c:pt idx="4265">
                  <c:v>-1.2585077751417996E-2</c:v>
                </c:pt>
                <c:pt idx="4266">
                  <c:v>-1.2592427603428104E-2</c:v>
                </c:pt>
                <c:pt idx="4267">
                  <c:v>-1.2600425189963592E-2</c:v>
                </c:pt>
                <c:pt idx="4268">
                  <c:v>-1.2581316719167695E-2</c:v>
                </c:pt>
                <c:pt idx="4269">
                  <c:v>-1.254956211279365E-2</c:v>
                </c:pt>
                <c:pt idx="4270">
                  <c:v>-1.255235339915969E-2</c:v>
                </c:pt>
                <c:pt idx="4271">
                  <c:v>-1.2552351011299829E-2</c:v>
                </c:pt>
                <c:pt idx="4272">
                  <c:v>-1.2543774941134844E-2</c:v>
                </c:pt>
                <c:pt idx="4273">
                  <c:v>-1.2549550855241825E-2</c:v>
                </c:pt>
                <c:pt idx="4274">
                  <c:v>-1.2541939955072745E-2</c:v>
                </c:pt>
                <c:pt idx="4275">
                  <c:v>-1.2549546957129514E-2</c:v>
                </c:pt>
                <c:pt idx="4276">
                  <c:v>-1.2549544855873423E-2</c:v>
                </c:pt>
                <c:pt idx="4277">
                  <c:v>-1.257732234598944E-2</c:v>
                </c:pt>
                <c:pt idx="4278">
                  <c:v>-1.2549538113597918E-2</c:v>
                </c:pt>
                <c:pt idx="4279">
                  <c:v>-1.2581290962362228E-2</c:v>
                </c:pt>
                <c:pt idx="4280">
                  <c:v>-1.2576087035627417E-2</c:v>
                </c:pt>
                <c:pt idx="4281">
                  <c:v>-1.2571431403903247E-2</c:v>
                </c:pt>
                <c:pt idx="4282">
                  <c:v>-1.2561544890689004E-2</c:v>
                </c:pt>
                <c:pt idx="4283">
                  <c:v>-1.2557032610425812E-2</c:v>
                </c:pt>
                <c:pt idx="4284">
                  <c:v>-1.2535786960135787E-2</c:v>
                </c:pt>
                <c:pt idx="4285">
                  <c:v>-1.2503428390818572E-2</c:v>
                </c:pt>
                <c:pt idx="4286">
                  <c:v>-1.2503428907643223E-2</c:v>
                </c:pt>
                <c:pt idx="4287">
                  <c:v>-1.2499845441673181E-2</c:v>
                </c:pt>
                <c:pt idx="4288">
                  <c:v>-1.249670305176275E-2</c:v>
                </c:pt>
                <c:pt idx="4289">
                  <c:v>-1.2530399496946964E-2</c:v>
                </c:pt>
                <c:pt idx="4290">
                  <c:v>-1.2513707038043024E-2</c:v>
                </c:pt>
                <c:pt idx="4291">
                  <c:v>-1.2504289739700296E-2</c:v>
                </c:pt>
                <c:pt idx="4292">
                  <c:v>-1.2539197870038496E-2</c:v>
                </c:pt>
                <c:pt idx="4293">
                  <c:v>-1.2555864410496588E-2</c:v>
                </c:pt>
                <c:pt idx="4294">
                  <c:v>-1.2554222930739545E-2</c:v>
                </c:pt>
                <c:pt idx="4295">
                  <c:v>-1.2554226802671559E-2</c:v>
                </c:pt>
                <c:pt idx="4296">
                  <c:v>-1.2554231502058186E-2</c:v>
                </c:pt>
                <c:pt idx="4297">
                  <c:v>-1.2553062797195851E-2</c:v>
                </c:pt>
                <c:pt idx="4298">
                  <c:v>-1.2596272102270455E-2</c:v>
                </c:pt>
                <c:pt idx="4299">
                  <c:v>-1.2613115549600363E-2</c:v>
                </c:pt>
                <c:pt idx="4300">
                  <c:v>-1.262577006657549E-2</c:v>
                </c:pt>
                <c:pt idx="4301">
                  <c:v>-1.2622646135837601E-2</c:v>
                </c:pt>
                <c:pt idx="4302">
                  <c:v>-1.2620260367253585E-2</c:v>
                </c:pt>
                <c:pt idx="4303">
                  <c:v>-1.261660373485193E-2</c:v>
                </c:pt>
                <c:pt idx="4304">
                  <c:v>-1.261264220092735E-2</c:v>
                </c:pt>
                <c:pt idx="4305">
                  <c:v>-1.2608447771462335E-2</c:v>
                </c:pt>
                <c:pt idx="4306">
                  <c:v>-1.2604182286755156E-2</c:v>
                </c:pt>
                <c:pt idx="4307">
                  <c:v>-1.2557215756837695E-2</c:v>
                </c:pt>
                <c:pt idx="4308">
                  <c:v>-1.2547707520426608E-2</c:v>
                </c:pt>
                <c:pt idx="4309">
                  <c:v>-1.2505441118174525E-2</c:v>
                </c:pt>
                <c:pt idx="4310">
                  <c:v>-1.2466928912474612E-2</c:v>
                </c:pt>
                <c:pt idx="4311">
                  <c:v>-1.2445907940133515E-2</c:v>
                </c:pt>
                <c:pt idx="4312">
                  <c:v>-1.2460715688372634E-2</c:v>
                </c:pt>
                <c:pt idx="4313">
                  <c:v>-1.2457191020743793E-2</c:v>
                </c:pt>
                <c:pt idx="4314">
                  <c:v>-1.2399848746278653E-2</c:v>
                </c:pt>
                <c:pt idx="4315">
                  <c:v>-1.2441796386655693E-2</c:v>
                </c:pt>
                <c:pt idx="4316">
                  <c:v>-1.2439237568448329E-2</c:v>
                </c:pt>
                <c:pt idx="4317">
                  <c:v>-1.2437851293564284E-2</c:v>
                </c:pt>
                <c:pt idx="4318">
                  <c:v>-1.2437140291914509E-2</c:v>
                </c:pt>
                <c:pt idx="4319">
                  <c:v>-1.2440802033833106E-2</c:v>
                </c:pt>
                <c:pt idx="4320">
                  <c:v>-1.2421368348959284E-2</c:v>
                </c:pt>
                <c:pt idx="4321">
                  <c:v>-1.2447295310052389E-2</c:v>
                </c:pt>
                <c:pt idx="4322">
                  <c:v>-1.2449349855111359E-2</c:v>
                </c:pt>
                <c:pt idx="4323">
                  <c:v>-1.2458733603580997E-2</c:v>
                </c:pt>
                <c:pt idx="4324">
                  <c:v>-1.2461080998791702E-2</c:v>
                </c:pt>
                <c:pt idx="4325">
                  <c:v>-1.2438431533091408E-2</c:v>
                </c:pt>
                <c:pt idx="4326">
                  <c:v>-1.2447180916713286E-2</c:v>
                </c:pt>
                <c:pt idx="4327">
                  <c:v>-1.2449464866475798E-2</c:v>
                </c:pt>
                <c:pt idx="4328">
                  <c:v>-1.2458635178115888E-2</c:v>
                </c:pt>
                <c:pt idx="4329">
                  <c:v>-1.246592428061841E-2</c:v>
                </c:pt>
                <c:pt idx="4330">
                  <c:v>-1.2465213304328222E-2</c:v>
                </c:pt>
                <c:pt idx="4331">
                  <c:v>-1.2464447884575522E-2</c:v>
                </c:pt>
                <c:pt idx="4332">
                  <c:v>-1.2462968762382219E-2</c:v>
                </c:pt>
                <c:pt idx="4333">
                  <c:v>-1.2461828360666649E-2</c:v>
                </c:pt>
                <c:pt idx="4334">
                  <c:v>-1.2435101227546671E-2</c:v>
                </c:pt>
                <c:pt idx="4335">
                  <c:v>-1.2411317183789811E-2</c:v>
                </c:pt>
                <c:pt idx="4336">
                  <c:v>-1.2410445858647777E-2</c:v>
                </c:pt>
                <c:pt idx="4337">
                  <c:v>-1.2432595580187576E-2</c:v>
                </c:pt>
                <c:pt idx="4338">
                  <c:v>-1.2458009813576724E-2</c:v>
                </c:pt>
                <c:pt idx="4339">
                  <c:v>-1.2476626793915098E-2</c:v>
                </c:pt>
                <c:pt idx="4340">
                  <c:v>-1.2504147993552209E-2</c:v>
                </c:pt>
                <c:pt idx="4341">
                  <c:v>-1.2527020141738435E-2</c:v>
                </c:pt>
                <c:pt idx="4342">
                  <c:v>-1.2527795525755354E-2</c:v>
                </c:pt>
                <c:pt idx="4343">
                  <c:v>-1.2520207047832042E-2</c:v>
                </c:pt>
                <c:pt idx="4344">
                  <c:v>-1.2592522641001453E-2</c:v>
                </c:pt>
                <c:pt idx="4345">
                  <c:v>-1.2601021948015514E-2</c:v>
                </c:pt>
                <c:pt idx="4346">
                  <c:v>-1.2601172225862297E-2</c:v>
                </c:pt>
                <c:pt idx="4347">
                  <c:v>-1.260137331885712E-2</c:v>
                </c:pt>
                <c:pt idx="4348">
                  <c:v>-1.2592747492344195E-2</c:v>
                </c:pt>
                <c:pt idx="4349">
                  <c:v>-1.2592230974717388E-2</c:v>
                </c:pt>
                <c:pt idx="4350">
                  <c:v>-1.2629767249074646E-2</c:v>
                </c:pt>
                <c:pt idx="4351">
                  <c:v>-1.2630077815234456E-2</c:v>
                </c:pt>
                <c:pt idx="4352">
                  <c:v>-1.26297322851951E-2</c:v>
                </c:pt>
                <c:pt idx="4353">
                  <c:v>-1.2621766915266799E-2</c:v>
                </c:pt>
                <c:pt idx="4354">
                  <c:v>-1.2610854550739929E-2</c:v>
                </c:pt>
                <c:pt idx="4355">
                  <c:v>-1.263838115806006E-2</c:v>
                </c:pt>
                <c:pt idx="4356">
                  <c:v>-1.2638651364563224E-2</c:v>
                </c:pt>
                <c:pt idx="4357">
                  <c:v>-1.2639040981747167E-2</c:v>
                </c:pt>
                <c:pt idx="4358">
                  <c:v>-1.2639310214686885E-2</c:v>
                </c:pt>
                <c:pt idx="4359">
                  <c:v>-1.2630417874752053E-2</c:v>
                </c:pt>
                <c:pt idx="4360">
                  <c:v>-1.2634101906462952E-2</c:v>
                </c:pt>
                <c:pt idx="4361">
                  <c:v>-1.2626757348100558E-2</c:v>
                </c:pt>
                <c:pt idx="4362">
                  <c:v>-1.2638893737243742E-2</c:v>
                </c:pt>
                <c:pt idx="4363">
                  <c:v>-1.2624659356962529E-2</c:v>
                </c:pt>
                <c:pt idx="4364">
                  <c:v>-1.2601120422230615E-2</c:v>
                </c:pt>
                <c:pt idx="4365">
                  <c:v>-1.2564404986459604E-2</c:v>
                </c:pt>
                <c:pt idx="4366">
                  <c:v>-1.2562549757323637E-2</c:v>
                </c:pt>
                <c:pt idx="4367">
                  <c:v>-1.2544412862649363E-2</c:v>
                </c:pt>
                <c:pt idx="4368">
                  <c:v>-1.2542409004994181E-2</c:v>
                </c:pt>
                <c:pt idx="4369">
                  <c:v>-1.2542032064038951E-2</c:v>
                </c:pt>
                <c:pt idx="4370">
                  <c:v>-1.2542321670333758E-2</c:v>
                </c:pt>
                <c:pt idx="4371">
                  <c:v>-1.2542057914146691E-2</c:v>
                </c:pt>
                <c:pt idx="4372">
                  <c:v>-1.2542686343816462E-2</c:v>
                </c:pt>
                <c:pt idx="4373">
                  <c:v>-1.2561452822873903E-2</c:v>
                </c:pt>
                <c:pt idx="4374">
                  <c:v>-1.2563453630560802E-2</c:v>
                </c:pt>
                <c:pt idx="4375">
                  <c:v>-1.2560058592698251E-2</c:v>
                </c:pt>
                <c:pt idx="4376">
                  <c:v>-1.2552094111421051E-2</c:v>
                </c:pt>
                <c:pt idx="4377">
                  <c:v>-1.2521400560377531E-2</c:v>
                </c:pt>
                <c:pt idx="4378">
                  <c:v>-1.2496667026775841E-2</c:v>
                </c:pt>
                <c:pt idx="4379">
                  <c:v>-1.249290911137789E-2</c:v>
                </c:pt>
                <c:pt idx="4380">
                  <c:v>-1.2493755948665768E-2</c:v>
                </c:pt>
                <c:pt idx="4381">
                  <c:v>-1.2500292321492941E-2</c:v>
                </c:pt>
                <c:pt idx="4382">
                  <c:v>-1.2499687805348266E-2</c:v>
                </c:pt>
                <c:pt idx="4383">
                  <c:v>-1.2523876233225272E-2</c:v>
                </c:pt>
                <c:pt idx="4384">
                  <c:v>-1.2515886089580892E-2</c:v>
                </c:pt>
                <c:pt idx="4385">
                  <c:v>-1.2516230636805068E-2</c:v>
                </c:pt>
                <c:pt idx="4386">
                  <c:v>-1.2499518007051385E-2</c:v>
                </c:pt>
                <c:pt idx="4387">
                  <c:v>-1.2477609804713323E-2</c:v>
                </c:pt>
                <c:pt idx="4388">
                  <c:v>-1.246537704657294E-2</c:v>
                </c:pt>
                <c:pt idx="4389">
                  <c:v>-1.2461751702883056E-2</c:v>
                </c:pt>
                <c:pt idx="4390">
                  <c:v>-1.2417446827961027E-2</c:v>
                </c:pt>
                <c:pt idx="4391">
                  <c:v>-1.2415996380489069E-2</c:v>
                </c:pt>
                <c:pt idx="4392">
                  <c:v>-1.242645180706947E-2</c:v>
                </c:pt>
                <c:pt idx="4393">
                  <c:v>-1.2465931583683854E-2</c:v>
                </c:pt>
                <c:pt idx="4394">
                  <c:v>-1.2479666332543589E-2</c:v>
                </c:pt>
                <c:pt idx="4395">
                  <c:v>-1.2489389922589736E-2</c:v>
                </c:pt>
                <c:pt idx="4396">
                  <c:v>-1.2486209441204002E-2</c:v>
                </c:pt>
                <c:pt idx="4397">
                  <c:v>-1.2468955301580743E-2</c:v>
                </c:pt>
                <c:pt idx="4398">
                  <c:v>-1.2465744272155148E-2</c:v>
                </c:pt>
                <c:pt idx="4399">
                  <c:v>-1.2461553563318097E-2</c:v>
                </c:pt>
                <c:pt idx="4400">
                  <c:v>-1.2458849620109425E-2</c:v>
                </c:pt>
                <c:pt idx="4401">
                  <c:v>-1.2443375913601316E-2</c:v>
                </c:pt>
                <c:pt idx="4402">
                  <c:v>-1.2438145895419511E-2</c:v>
                </c:pt>
                <c:pt idx="4403">
                  <c:v>-1.2434385582675804E-2</c:v>
                </c:pt>
                <c:pt idx="4404">
                  <c:v>-1.2426788281682633E-2</c:v>
                </c:pt>
                <c:pt idx="4405">
                  <c:v>-1.2355780078672817E-2</c:v>
                </c:pt>
                <c:pt idx="4406">
                  <c:v>-1.2343463767070479E-2</c:v>
                </c:pt>
                <c:pt idx="4407">
                  <c:v>-1.2343629427889146E-2</c:v>
                </c:pt>
                <c:pt idx="4408">
                  <c:v>-1.2380421805533245E-2</c:v>
                </c:pt>
                <c:pt idx="4409">
                  <c:v>-1.2370142806967278E-2</c:v>
                </c:pt>
                <c:pt idx="4410">
                  <c:v>-1.2384280080603823E-2</c:v>
                </c:pt>
                <c:pt idx="4411">
                  <c:v>-1.2361868635890925E-2</c:v>
                </c:pt>
                <c:pt idx="4412">
                  <c:v>-1.2335304051107722E-2</c:v>
                </c:pt>
                <c:pt idx="4413">
                  <c:v>-1.2332628877373289E-2</c:v>
                </c:pt>
                <c:pt idx="4414">
                  <c:v>-1.2352234984718054E-2</c:v>
                </c:pt>
                <c:pt idx="4415">
                  <c:v>-1.2350364515738938E-2</c:v>
                </c:pt>
                <c:pt idx="4416">
                  <c:v>-1.2349332302464003E-2</c:v>
                </c:pt>
                <c:pt idx="4417">
                  <c:v>-1.2415899689040508E-2</c:v>
                </c:pt>
                <c:pt idx="4418">
                  <c:v>-1.2415705752360196E-2</c:v>
                </c:pt>
                <c:pt idx="4419">
                  <c:v>-1.2415305533899147E-2</c:v>
                </c:pt>
                <c:pt idx="4420">
                  <c:v>-1.2344269672741518E-2</c:v>
                </c:pt>
                <c:pt idx="4421">
                  <c:v>-1.2346532243840358E-2</c:v>
                </c:pt>
                <c:pt idx="4422">
                  <c:v>-1.2336219228216197E-2</c:v>
                </c:pt>
                <c:pt idx="4423">
                  <c:v>-1.2339935351122053E-2</c:v>
                </c:pt>
                <c:pt idx="4424">
                  <c:v>-1.2351207069110092E-2</c:v>
                </c:pt>
                <c:pt idx="4425">
                  <c:v>-1.2349955005289862E-2</c:v>
                </c:pt>
                <c:pt idx="4426">
                  <c:v>-1.2349707755336272E-2</c:v>
                </c:pt>
                <c:pt idx="4427">
                  <c:v>-1.2339797352968538E-2</c:v>
                </c:pt>
                <c:pt idx="4428">
                  <c:v>-1.2341237590218289E-2</c:v>
                </c:pt>
                <c:pt idx="4429">
                  <c:v>-1.2341461725769413E-2</c:v>
                </c:pt>
                <c:pt idx="4430">
                  <c:v>-1.2331625685117047E-2</c:v>
                </c:pt>
                <c:pt idx="4431">
                  <c:v>-1.2297759693259918E-2</c:v>
                </c:pt>
                <c:pt idx="4432">
                  <c:v>-1.2247424460689441E-2</c:v>
                </c:pt>
                <c:pt idx="4433">
                  <c:v>-1.2238803539686156E-2</c:v>
                </c:pt>
                <c:pt idx="4434">
                  <c:v>-1.2250093024799132E-2</c:v>
                </c:pt>
                <c:pt idx="4435">
                  <c:v>-1.2280539110919701E-2</c:v>
                </c:pt>
                <c:pt idx="4436">
                  <c:v>-1.2280790199675694E-2</c:v>
                </c:pt>
                <c:pt idx="4437">
                  <c:v>-1.2274889066438883E-2</c:v>
                </c:pt>
                <c:pt idx="4438">
                  <c:v>-1.2270329105016787E-2</c:v>
                </c:pt>
                <c:pt idx="4439">
                  <c:v>-1.227514398038288E-2</c:v>
                </c:pt>
                <c:pt idx="4440">
                  <c:v>-1.2267516847079551E-2</c:v>
                </c:pt>
                <c:pt idx="4441">
                  <c:v>-1.2296013560447759E-2</c:v>
                </c:pt>
                <c:pt idx="4442">
                  <c:v>-1.2285386097384414E-2</c:v>
                </c:pt>
                <c:pt idx="4443">
                  <c:v>-1.2263532717667601E-2</c:v>
                </c:pt>
                <c:pt idx="4444">
                  <c:v>-1.2226781198754998E-2</c:v>
                </c:pt>
                <c:pt idx="4445">
                  <c:v>-1.2236869818673163E-2</c:v>
                </c:pt>
                <c:pt idx="4446">
                  <c:v>-1.2217301760535442E-2</c:v>
                </c:pt>
                <c:pt idx="4447">
                  <c:v>-1.2207659600651561E-2</c:v>
                </c:pt>
                <c:pt idx="4448">
                  <c:v>-1.2205853106162403E-2</c:v>
                </c:pt>
                <c:pt idx="4449">
                  <c:v>-1.2197294457395745E-2</c:v>
                </c:pt>
                <c:pt idx="4450">
                  <c:v>-1.2243295713385751E-2</c:v>
                </c:pt>
                <c:pt idx="4451">
                  <c:v>-1.2227840169105971E-2</c:v>
                </c:pt>
                <c:pt idx="4452">
                  <c:v>-1.2214155898024475E-2</c:v>
                </c:pt>
                <c:pt idx="4453">
                  <c:v>-1.220900066121521E-2</c:v>
                </c:pt>
                <c:pt idx="4454">
                  <c:v>-1.2206653053137976E-2</c:v>
                </c:pt>
                <c:pt idx="4455">
                  <c:v>-1.2203591151459567E-2</c:v>
                </c:pt>
                <c:pt idx="4456">
                  <c:v>-1.2201557937049277E-2</c:v>
                </c:pt>
                <c:pt idx="4457">
                  <c:v>-1.2219209499268698E-2</c:v>
                </c:pt>
                <c:pt idx="4458">
                  <c:v>-1.2218017014201787E-2</c:v>
                </c:pt>
                <c:pt idx="4459">
                  <c:v>-1.221347076347413E-2</c:v>
                </c:pt>
                <c:pt idx="4460">
                  <c:v>-1.2227209325625356E-2</c:v>
                </c:pt>
                <c:pt idx="4461">
                  <c:v>-1.224858996005874E-2</c:v>
                </c:pt>
                <c:pt idx="4462">
                  <c:v>-1.2354367563628413E-2</c:v>
                </c:pt>
                <c:pt idx="4463">
                  <c:v>-1.2337509837413576E-2</c:v>
                </c:pt>
                <c:pt idx="4464">
                  <c:v>-1.2332741146698866E-2</c:v>
                </c:pt>
                <c:pt idx="4465">
                  <c:v>-1.2280523143360589E-2</c:v>
                </c:pt>
                <c:pt idx="4466">
                  <c:v>-1.2284438937622663E-2</c:v>
                </c:pt>
                <c:pt idx="4467">
                  <c:v>-1.2286050053063963E-2</c:v>
                </c:pt>
                <c:pt idx="4468">
                  <c:v>-1.22897502767175E-2</c:v>
                </c:pt>
                <c:pt idx="4469">
                  <c:v>-1.2287601805375487E-2</c:v>
                </c:pt>
                <c:pt idx="4470">
                  <c:v>-1.2289725433235695E-2</c:v>
                </c:pt>
                <c:pt idx="4471">
                  <c:v>-1.2291384265304784E-2</c:v>
                </c:pt>
                <c:pt idx="4472">
                  <c:v>-1.2295480939599963E-2</c:v>
                </c:pt>
                <c:pt idx="4473">
                  <c:v>-1.232204756896161E-2</c:v>
                </c:pt>
                <c:pt idx="4474">
                  <c:v>-1.2323539170897452E-2</c:v>
                </c:pt>
                <c:pt idx="4475">
                  <c:v>-1.2317179771585477E-2</c:v>
                </c:pt>
                <c:pt idx="4476">
                  <c:v>-1.2351351331392511E-2</c:v>
                </c:pt>
                <c:pt idx="4477">
                  <c:v>-1.2358088161373758E-2</c:v>
                </c:pt>
                <c:pt idx="4478">
                  <c:v>-1.236343205049896E-2</c:v>
                </c:pt>
                <c:pt idx="4479">
                  <c:v>-1.237023843921492E-2</c:v>
                </c:pt>
                <c:pt idx="4480">
                  <c:v>-1.2377394333153852E-2</c:v>
                </c:pt>
                <c:pt idx="4481">
                  <c:v>-1.2411747559515133E-2</c:v>
                </c:pt>
                <c:pt idx="4482">
                  <c:v>-1.2404317633213202E-2</c:v>
                </c:pt>
                <c:pt idx="4483">
                  <c:v>-1.2396790617405073E-2</c:v>
                </c:pt>
                <c:pt idx="4484">
                  <c:v>-1.239759163980097E-2</c:v>
                </c:pt>
                <c:pt idx="4485">
                  <c:v>-1.2398710114169216E-2</c:v>
                </c:pt>
                <c:pt idx="4486">
                  <c:v>-1.2357557831100841E-2</c:v>
                </c:pt>
                <c:pt idx="4487">
                  <c:v>-1.2351965384037314E-2</c:v>
                </c:pt>
                <c:pt idx="4488">
                  <c:v>-1.2339671278110143E-2</c:v>
                </c:pt>
                <c:pt idx="4489">
                  <c:v>-1.2320063943726235E-2</c:v>
                </c:pt>
                <c:pt idx="4490">
                  <c:v>-1.2322900795318828E-2</c:v>
                </c:pt>
                <c:pt idx="4491">
                  <c:v>-1.2327249068560947E-2</c:v>
                </c:pt>
                <c:pt idx="4492">
                  <c:v>-1.2294579804492996E-2</c:v>
                </c:pt>
                <c:pt idx="4493">
                  <c:v>-1.2307833331234795E-2</c:v>
                </c:pt>
                <c:pt idx="4494">
                  <c:v>-1.2287256129329373E-2</c:v>
                </c:pt>
                <c:pt idx="4495">
                  <c:v>-1.2308011989143428E-2</c:v>
                </c:pt>
                <c:pt idx="4496">
                  <c:v>-1.2319534471452672E-2</c:v>
                </c:pt>
                <c:pt idx="4497">
                  <c:v>-1.2304771424014947E-2</c:v>
                </c:pt>
                <c:pt idx="4498">
                  <c:v>-1.2303073298017362E-2</c:v>
                </c:pt>
                <c:pt idx="4499">
                  <c:v>-1.2268619456330343E-2</c:v>
                </c:pt>
                <c:pt idx="4500">
                  <c:v>-1.2266939300636938E-2</c:v>
                </c:pt>
                <c:pt idx="4501">
                  <c:v>-1.2254390897688729E-2</c:v>
                </c:pt>
                <c:pt idx="4502">
                  <c:v>-1.2253343373513423E-2</c:v>
                </c:pt>
                <c:pt idx="4503">
                  <c:v>-1.2249130428356342E-2</c:v>
                </c:pt>
                <c:pt idx="4504">
                  <c:v>-1.2243739005003643E-2</c:v>
                </c:pt>
                <c:pt idx="4505">
                  <c:v>-1.2252983130245558E-2</c:v>
                </c:pt>
                <c:pt idx="4506">
                  <c:v>-1.2249374083312675E-2</c:v>
                </c:pt>
                <c:pt idx="4507">
                  <c:v>-1.2247225224627359E-2</c:v>
                </c:pt>
                <c:pt idx="4508">
                  <c:v>-1.2246764137692389E-2</c:v>
                </c:pt>
                <c:pt idx="4509">
                  <c:v>-1.2242480774599076E-2</c:v>
                </c:pt>
                <c:pt idx="4510">
                  <c:v>-1.2243366844121285E-2</c:v>
                </c:pt>
                <c:pt idx="4511">
                  <c:v>-1.2241359790938044E-2</c:v>
                </c:pt>
                <c:pt idx="4512">
                  <c:v>-1.2286194812075352E-2</c:v>
                </c:pt>
                <c:pt idx="4513">
                  <c:v>-1.2274426742741861E-2</c:v>
                </c:pt>
                <c:pt idx="4514">
                  <c:v>-1.2261876072947889E-2</c:v>
                </c:pt>
                <c:pt idx="4515">
                  <c:v>-1.2252274782920677E-2</c:v>
                </c:pt>
                <c:pt idx="4516">
                  <c:v>-1.2251082889832858E-2</c:v>
                </c:pt>
                <c:pt idx="4517">
                  <c:v>-1.2240113158217799E-2</c:v>
                </c:pt>
                <c:pt idx="4518">
                  <c:v>-1.2242577343102827E-2</c:v>
                </c:pt>
                <c:pt idx="4519">
                  <c:v>-1.2269596141359361E-2</c:v>
                </c:pt>
                <c:pt idx="4520">
                  <c:v>-1.2242724096432334E-2</c:v>
                </c:pt>
                <c:pt idx="4521">
                  <c:v>-1.2239595464288698E-2</c:v>
                </c:pt>
                <c:pt idx="4522">
                  <c:v>-1.2257633178150784E-2</c:v>
                </c:pt>
                <c:pt idx="4523">
                  <c:v>-1.2251962175091308E-2</c:v>
                </c:pt>
                <c:pt idx="4524">
                  <c:v>-1.2274517748004152E-2</c:v>
                </c:pt>
                <c:pt idx="4525">
                  <c:v>-1.229692059048196E-2</c:v>
                </c:pt>
                <c:pt idx="4526">
                  <c:v>-1.2295620061649283E-2</c:v>
                </c:pt>
                <c:pt idx="4527">
                  <c:v>-1.2326133429632362E-2</c:v>
                </c:pt>
                <c:pt idx="4528">
                  <c:v>-1.2304928769174972E-2</c:v>
                </c:pt>
                <c:pt idx="4529">
                  <c:v>-1.2348237176266662E-2</c:v>
                </c:pt>
                <c:pt idx="4530">
                  <c:v>-1.2332793147087899E-2</c:v>
                </c:pt>
                <c:pt idx="4531">
                  <c:v>-1.2321041436479175E-2</c:v>
                </c:pt>
                <c:pt idx="4532">
                  <c:v>-1.2321278273242987E-2</c:v>
                </c:pt>
                <c:pt idx="4533">
                  <c:v>-1.2321001094386611E-2</c:v>
                </c:pt>
                <c:pt idx="4534">
                  <c:v>-1.2333021912974822E-2</c:v>
                </c:pt>
                <c:pt idx="4535">
                  <c:v>-1.2340033931111319E-2</c:v>
                </c:pt>
                <c:pt idx="4536">
                  <c:v>-1.2347211794857959E-2</c:v>
                </c:pt>
                <c:pt idx="4537">
                  <c:v>-1.2355557439790677E-2</c:v>
                </c:pt>
                <c:pt idx="4538">
                  <c:v>-1.2365110099324839E-2</c:v>
                </c:pt>
                <c:pt idx="4539">
                  <c:v>-1.2331934337829777E-2</c:v>
                </c:pt>
                <c:pt idx="4540">
                  <c:v>-1.2337427687141576E-2</c:v>
                </c:pt>
                <c:pt idx="4541">
                  <c:v>-1.2352102228492189E-2</c:v>
                </c:pt>
                <c:pt idx="4542">
                  <c:v>-1.2371455554445659E-2</c:v>
                </c:pt>
                <c:pt idx="4543">
                  <c:v>-1.2359334583089375E-2</c:v>
                </c:pt>
                <c:pt idx="4544">
                  <c:v>-1.2360109233298527E-2</c:v>
                </c:pt>
                <c:pt idx="4545">
                  <c:v>-1.2357644153488223E-2</c:v>
                </c:pt>
                <c:pt idx="4546">
                  <c:v>-1.2387649437427749E-2</c:v>
                </c:pt>
                <c:pt idx="4547">
                  <c:v>-1.2407349112363492E-2</c:v>
                </c:pt>
                <c:pt idx="4548">
                  <c:v>-1.2407855248558379E-2</c:v>
                </c:pt>
                <c:pt idx="4549">
                  <c:v>-1.2409909628447654E-2</c:v>
                </c:pt>
                <c:pt idx="4550">
                  <c:v>-1.2436358847608091E-2</c:v>
                </c:pt>
                <c:pt idx="4551">
                  <c:v>-1.2431870078345472E-2</c:v>
                </c:pt>
                <c:pt idx="4552">
                  <c:v>-1.2429368294170216E-2</c:v>
                </c:pt>
                <c:pt idx="4553">
                  <c:v>-1.243244899673992E-2</c:v>
                </c:pt>
                <c:pt idx="4554">
                  <c:v>-1.2435064673975645E-2</c:v>
                </c:pt>
                <c:pt idx="4555">
                  <c:v>-1.2432864691675323E-2</c:v>
                </c:pt>
                <c:pt idx="4556">
                  <c:v>-1.2426538807825337E-2</c:v>
                </c:pt>
                <c:pt idx="4557">
                  <c:v>-1.2420922580451719E-2</c:v>
                </c:pt>
                <c:pt idx="4558">
                  <c:v>-1.2448958557171453E-2</c:v>
                </c:pt>
                <c:pt idx="4559">
                  <c:v>-1.2463215516801551E-2</c:v>
                </c:pt>
                <c:pt idx="4560">
                  <c:v>-1.2495554274490547E-2</c:v>
                </c:pt>
                <c:pt idx="4561">
                  <c:v>-1.2515507201898469E-2</c:v>
                </c:pt>
                <c:pt idx="4562">
                  <c:v>-1.2516687191112597E-2</c:v>
                </c:pt>
                <c:pt idx="4563">
                  <c:v>-1.2524964415429342E-2</c:v>
                </c:pt>
                <c:pt idx="4564">
                  <c:v>-1.2522153844837172E-2</c:v>
                </c:pt>
                <c:pt idx="4565">
                  <c:v>-1.2519900734002876E-2</c:v>
                </c:pt>
                <c:pt idx="4566">
                  <c:v>-1.2495083697961051E-2</c:v>
                </c:pt>
                <c:pt idx="4567">
                  <c:v>-1.2456949471234902E-2</c:v>
                </c:pt>
                <c:pt idx="4568">
                  <c:v>-1.2445812695749198E-2</c:v>
                </c:pt>
                <c:pt idx="4569">
                  <c:v>-1.2445602113588578E-2</c:v>
                </c:pt>
                <c:pt idx="4570">
                  <c:v>-1.2455751905051066E-2</c:v>
                </c:pt>
                <c:pt idx="4571">
                  <c:v>-1.2445277759856068E-2</c:v>
                </c:pt>
                <c:pt idx="4572">
                  <c:v>-1.2445348633839197E-2</c:v>
                </c:pt>
                <c:pt idx="4573">
                  <c:v>-1.246917995274993E-2</c:v>
                </c:pt>
                <c:pt idx="4574">
                  <c:v>-1.2464000643650348E-2</c:v>
                </c:pt>
                <c:pt idx="4575">
                  <c:v>-1.2463637971334566E-2</c:v>
                </c:pt>
                <c:pt idx="4576">
                  <c:v>-1.2440415559061084E-2</c:v>
                </c:pt>
                <c:pt idx="4577">
                  <c:v>-1.2407941166396961E-2</c:v>
                </c:pt>
                <c:pt idx="4578">
                  <c:v>-1.2386626224379872E-2</c:v>
                </c:pt>
                <c:pt idx="4579">
                  <c:v>-1.2375111930833923E-2</c:v>
                </c:pt>
                <c:pt idx="4580">
                  <c:v>-1.2365318330579717E-2</c:v>
                </c:pt>
                <c:pt idx="4581">
                  <c:v>-1.2366232493971114E-2</c:v>
                </c:pt>
                <c:pt idx="4582">
                  <c:v>-1.236937524857357E-2</c:v>
                </c:pt>
                <c:pt idx="4583">
                  <c:v>-1.2368984051574234E-2</c:v>
                </c:pt>
                <c:pt idx="4584">
                  <c:v>-1.2371900695994391E-2</c:v>
                </c:pt>
                <c:pt idx="4585">
                  <c:v>-1.2381398320972917E-2</c:v>
                </c:pt>
                <c:pt idx="4586">
                  <c:v>-1.2392263535003247E-2</c:v>
                </c:pt>
                <c:pt idx="4587">
                  <c:v>-1.2391122083153646E-2</c:v>
                </c:pt>
                <c:pt idx="4588">
                  <c:v>-1.2388764344794365E-2</c:v>
                </c:pt>
                <c:pt idx="4589">
                  <c:v>-1.2375223573710408E-2</c:v>
                </c:pt>
                <c:pt idx="4590">
                  <c:v>-1.2373168688612792E-2</c:v>
                </c:pt>
                <c:pt idx="4591">
                  <c:v>-1.2371683676104361E-2</c:v>
                </c:pt>
                <c:pt idx="4592">
                  <c:v>-1.2359820157627729E-2</c:v>
                </c:pt>
                <c:pt idx="4593">
                  <c:v>-1.2347271064254929E-2</c:v>
                </c:pt>
                <c:pt idx="4594">
                  <c:v>-1.2346160324021666E-2</c:v>
                </c:pt>
                <c:pt idx="4595">
                  <c:v>-1.2237766539739695E-2</c:v>
                </c:pt>
                <c:pt idx="4596">
                  <c:v>-1.2237602790118884E-2</c:v>
                </c:pt>
                <c:pt idx="4597">
                  <c:v>-1.2268211847668017E-2</c:v>
                </c:pt>
                <c:pt idx="4598">
                  <c:v>-1.2280520950526806E-2</c:v>
                </c:pt>
                <c:pt idx="4599">
                  <c:v>-1.2281805040608072E-2</c:v>
                </c:pt>
                <c:pt idx="4600">
                  <c:v>-1.2273232023638883E-2</c:v>
                </c:pt>
                <c:pt idx="4601">
                  <c:v>-1.228461768770359E-2</c:v>
                </c:pt>
                <c:pt idx="4602">
                  <c:v>-1.2276446063650562E-2</c:v>
                </c:pt>
                <c:pt idx="4603">
                  <c:v>-1.2245455202373507E-2</c:v>
                </c:pt>
                <c:pt idx="4604">
                  <c:v>-1.22376587840898E-2</c:v>
                </c:pt>
                <c:pt idx="4605">
                  <c:v>-1.2227824532716619E-2</c:v>
                </c:pt>
                <c:pt idx="4606">
                  <c:v>-1.2210049919755779E-2</c:v>
                </c:pt>
                <c:pt idx="4607">
                  <c:v>-1.2240148670410084E-2</c:v>
                </c:pt>
                <c:pt idx="4608">
                  <c:v>-1.2248013326853284E-2</c:v>
                </c:pt>
                <c:pt idx="4609">
                  <c:v>-1.2272349575319566E-2</c:v>
                </c:pt>
                <c:pt idx="4610">
                  <c:v>-1.2280954267969291E-2</c:v>
                </c:pt>
                <c:pt idx="4611">
                  <c:v>-1.2250554546904317E-2</c:v>
                </c:pt>
                <c:pt idx="4612">
                  <c:v>-1.2238212899593389E-2</c:v>
                </c:pt>
                <c:pt idx="4613">
                  <c:v>-1.2211651679132532E-2</c:v>
                </c:pt>
                <c:pt idx="4614">
                  <c:v>-1.2200135845237889E-2</c:v>
                </c:pt>
                <c:pt idx="4615">
                  <c:v>-1.2196286906269987E-2</c:v>
                </c:pt>
                <c:pt idx="4616">
                  <c:v>-1.2193724849528659E-2</c:v>
                </c:pt>
                <c:pt idx="4617">
                  <c:v>-1.2190555357762653E-2</c:v>
                </c:pt>
                <c:pt idx="4618">
                  <c:v>-1.2163901949893686E-2</c:v>
                </c:pt>
                <c:pt idx="4619">
                  <c:v>-1.2143218194446304E-2</c:v>
                </c:pt>
                <c:pt idx="4620">
                  <c:v>-1.2142425677656346E-2</c:v>
                </c:pt>
                <c:pt idx="4621">
                  <c:v>-1.2143954094043759E-2</c:v>
                </c:pt>
                <c:pt idx="4622">
                  <c:v>-1.2149658198710021E-2</c:v>
                </c:pt>
                <c:pt idx="4623">
                  <c:v>-1.2149949278948703E-2</c:v>
                </c:pt>
                <c:pt idx="4624">
                  <c:v>-1.2138733932008691E-2</c:v>
                </c:pt>
                <c:pt idx="4625">
                  <c:v>-1.2241362369868568E-2</c:v>
                </c:pt>
                <c:pt idx="4626">
                  <c:v>-1.2226218237418207E-2</c:v>
                </c:pt>
                <c:pt idx="4627">
                  <c:v>-1.2216403416120647E-2</c:v>
                </c:pt>
                <c:pt idx="4628">
                  <c:v>-1.2219532859142696E-2</c:v>
                </c:pt>
                <c:pt idx="4629">
                  <c:v>-1.2245642852302221E-2</c:v>
                </c:pt>
                <c:pt idx="4630">
                  <c:v>-1.2234362662519059E-2</c:v>
                </c:pt>
                <c:pt idx="4631">
                  <c:v>-1.223864853153671E-2</c:v>
                </c:pt>
                <c:pt idx="4632">
                  <c:v>-1.2248305983140906E-2</c:v>
                </c:pt>
                <c:pt idx="4633">
                  <c:v>-1.2285548488407327E-2</c:v>
                </c:pt>
                <c:pt idx="4634">
                  <c:v>-1.2295146438333354E-2</c:v>
                </c:pt>
                <c:pt idx="4635">
                  <c:v>-1.2298048446383715E-2</c:v>
                </c:pt>
                <c:pt idx="4636">
                  <c:v>-1.2325530402651398E-2</c:v>
                </c:pt>
                <c:pt idx="4637">
                  <c:v>-1.2330178104072878E-2</c:v>
                </c:pt>
                <c:pt idx="4638">
                  <c:v>-1.2333996889629143E-2</c:v>
                </c:pt>
                <c:pt idx="4639">
                  <c:v>-1.2286223598794575E-2</c:v>
                </c:pt>
                <c:pt idx="4640">
                  <c:v>-1.2279767368680368E-2</c:v>
                </c:pt>
                <c:pt idx="4641">
                  <c:v>-1.230054580933466E-2</c:v>
                </c:pt>
                <c:pt idx="4642">
                  <c:v>-1.2315017448395698E-2</c:v>
                </c:pt>
                <c:pt idx="4643">
                  <c:v>-1.2337111735126294E-2</c:v>
                </c:pt>
                <c:pt idx="4644">
                  <c:v>-1.2355951696855692E-2</c:v>
                </c:pt>
                <c:pt idx="4645">
                  <c:v>-1.235734827284172E-2</c:v>
                </c:pt>
                <c:pt idx="4646">
                  <c:v>-1.2354406085655431E-2</c:v>
                </c:pt>
                <c:pt idx="4647">
                  <c:v>-1.2348595900997364E-2</c:v>
                </c:pt>
                <c:pt idx="4648">
                  <c:v>-1.2343913393511917E-2</c:v>
                </c:pt>
                <c:pt idx="4649">
                  <c:v>-1.2394913463335138E-2</c:v>
                </c:pt>
                <c:pt idx="4650">
                  <c:v>-1.2392055719048252E-2</c:v>
                </c:pt>
                <c:pt idx="4651">
                  <c:v>-1.2389229238682131E-2</c:v>
                </c:pt>
                <c:pt idx="4652">
                  <c:v>-1.2365480932405984E-2</c:v>
                </c:pt>
                <c:pt idx="4653">
                  <c:v>-1.2342800047213441E-2</c:v>
                </c:pt>
                <c:pt idx="4654">
                  <c:v>-1.2366974663600453E-2</c:v>
                </c:pt>
                <c:pt idx="4655">
                  <c:v>-1.2358786429604716E-2</c:v>
                </c:pt>
                <c:pt idx="4656">
                  <c:v>-1.2381727541660904E-2</c:v>
                </c:pt>
                <c:pt idx="4657">
                  <c:v>-1.2409323141110146E-2</c:v>
                </c:pt>
                <c:pt idx="4658">
                  <c:v>-1.2402612513661225E-2</c:v>
                </c:pt>
                <c:pt idx="4659">
                  <c:v>-1.2409665095105587E-2</c:v>
                </c:pt>
                <c:pt idx="4660">
                  <c:v>-1.2405959056285191E-2</c:v>
                </c:pt>
                <c:pt idx="4661">
                  <c:v>-1.2403548159135096E-2</c:v>
                </c:pt>
                <c:pt idx="4662">
                  <c:v>-1.2399645466342715E-2</c:v>
                </c:pt>
                <c:pt idx="4663">
                  <c:v>-1.2378445681859284E-2</c:v>
                </c:pt>
                <c:pt idx="4664">
                  <c:v>-1.2356086077457714E-2</c:v>
                </c:pt>
                <c:pt idx="4665">
                  <c:v>-1.237360438462419E-2</c:v>
                </c:pt>
                <c:pt idx="4666">
                  <c:v>-1.2374785224830173E-2</c:v>
                </c:pt>
                <c:pt idx="4667">
                  <c:v>-1.2375989174277671E-2</c:v>
                </c:pt>
                <c:pt idx="4668">
                  <c:v>-1.2377982756121867E-2</c:v>
                </c:pt>
                <c:pt idx="4669">
                  <c:v>-1.2432974767622104E-2</c:v>
                </c:pt>
                <c:pt idx="4670">
                  <c:v>-1.2440114814870208E-2</c:v>
                </c:pt>
                <c:pt idx="4671">
                  <c:v>-1.2442589450696526E-2</c:v>
                </c:pt>
                <c:pt idx="4672">
                  <c:v>-1.2453843773338889E-2</c:v>
                </c:pt>
                <c:pt idx="4673">
                  <c:v>-1.2450772400167587E-2</c:v>
                </c:pt>
                <c:pt idx="4674">
                  <c:v>-1.2453074275947551E-2</c:v>
                </c:pt>
                <c:pt idx="4675">
                  <c:v>-1.2433024378494461E-2</c:v>
                </c:pt>
                <c:pt idx="4676">
                  <c:v>-1.2405626857442325E-2</c:v>
                </c:pt>
                <c:pt idx="4677">
                  <c:v>-1.2399422044806529E-2</c:v>
                </c:pt>
                <c:pt idx="4678">
                  <c:v>-1.2417808348979209E-2</c:v>
                </c:pt>
                <c:pt idx="4679">
                  <c:v>-1.241611242561351E-2</c:v>
                </c:pt>
                <c:pt idx="4680">
                  <c:v>-1.2410202982707124E-2</c:v>
                </c:pt>
                <c:pt idx="4681">
                  <c:v>-1.2409702932139804E-2</c:v>
                </c:pt>
                <c:pt idx="4682">
                  <c:v>-1.2425358785788786E-2</c:v>
                </c:pt>
                <c:pt idx="4683">
                  <c:v>-1.2454824518971492E-2</c:v>
                </c:pt>
                <c:pt idx="4684">
                  <c:v>-1.2452528682039273E-2</c:v>
                </c:pt>
                <c:pt idx="4685">
                  <c:v>-1.2452484497843863E-2</c:v>
                </c:pt>
                <c:pt idx="4686">
                  <c:v>-1.2437829659169935E-2</c:v>
                </c:pt>
                <c:pt idx="4687">
                  <c:v>-1.2413774524070819E-2</c:v>
                </c:pt>
                <c:pt idx="4688">
                  <c:v>-1.2421208046198668E-2</c:v>
                </c:pt>
                <c:pt idx="4689">
                  <c:v>-1.2436738667707952E-2</c:v>
                </c:pt>
                <c:pt idx="4690">
                  <c:v>-1.2467863475002077E-2</c:v>
                </c:pt>
                <c:pt idx="4691">
                  <c:v>-1.2467742985234925E-2</c:v>
                </c:pt>
                <c:pt idx="4692">
                  <c:v>-1.2462964483826736E-2</c:v>
                </c:pt>
                <c:pt idx="4693">
                  <c:v>-1.2502115845143508E-2</c:v>
                </c:pt>
                <c:pt idx="4694">
                  <c:v>-1.2506524327806133E-2</c:v>
                </c:pt>
                <c:pt idx="4695">
                  <c:v>-1.2516036130416297E-2</c:v>
                </c:pt>
                <c:pt idx="4696">
                  <c:v>-1.2511962029344577E-2</c:v>
                </c:pt>
                <c:pt idx="4697">
                  <c:v>-1.2509104920485599E-2</c:v>
                </c:pt>
                <c:pt idx="4698">
                  <c:v>-1.2504643841311041E-2</c:v>
                </c:pt>
                <c:pt idx="4699">
                  <c:v>-1.2506333857167748E-2</c:v>
                </c:pt>
                <c:pt idx="4700">
                  <c:v>-1.2501147206084232E-2</c:v>
                </c:pt>
                <c:pt idx="4701">
                  <c:v>-1.2496692431222967E-2</c:v>
                </c:pt>
                <c:pt idx="4702">
                  <c:v>-1.2493857999566062E-2</c:v>
                </c:pt>
                <c:pt idx="4703">
                  <c:v>-1.2495801437003977E-2</c:v>
                </c:pt>
                <c:pt idx="4704">
                  <c:v>-1.249362740922759E-2</c:v>
                </c:pt>
                <c:pt idx="4705">
                  <c:v>-1.2517191797051064E-2</c:v>
                </c:pt>
                <c:pt idx="4706">
                  <c:v>-1.257361806028514E-2</c:v>
                </c:pt>
                <c:pt idx="4707">
                  <c:v>-1.2574309329283984E-2</c:v>
                </c:pt>
                <c:pt idx="4708">
                  <c:v>-1.2572822853024572E-2</c:v>
                </c:pt>
                <c:pt idx="4709">
                  <c:v>-1.2572686571843461E-2</c:v>
                </c:pt>
                <c:pt idx="4710">
                  <c:v>-1.2573996050494111E-2</c:v>
                </c:pt>
                <c:pt idx="4711">
                  <c:v>-1.2556190195310934E-2</c:v>
                </c:pt>
                <c:pt idx="4712">
                  <c:v>-1.2556813000003518E-2</c:v>
                </c:pt>
                <c:pt idx="4713">
                  <c:v>-1.2541477971315116E-2</c:v>
                </c:pt>
                <c:pt idx="4714">
                  <c:v>-1.2546277108024875E-2</c:v>
                </c:pt>
                <c:pt idx="4715">
                  <c:v>-1.2543568332977303E-2</c:v>
                </c:pt>
                <c:pt idx="4716">
                  <c:v>-1.2569908500196802E-2</c:v>
                </c:pt>
                <c:pt idx="4717">
                  <c:v>-1.2523165926238608E-2</c:v>
                </c:pt>
                <c:pt idx="4718">
                  <c:v>-1.2509782146127474E-2</c:v>
                </c:pt>
                <c:pt idx="4719">
                  <c:v>-1.2491606866026867E-2</c:v>
                </c:pt>
                <c:pt idx="4720">
                  <c:v>-1.2489769735810168E-2</c:v>
                </c:pt>
                <c:pt idx="4721">
                  <c:v>-1.1675534659994756E-2</c:v>
                </c:pt>
                <c:pt idx="4722">
                  <c:v>-1.1319126307432896E-2</c:v>
                </c:pt>
                <c:pt idx="4723">
                  <c:v>-1.064464169414624E-2</c:v>
                </c:pt>
                <c:pt idx="4724">
                  <c:v>-1.0108908510639465E-2</c:v>
                </c:pt>
                <c:pt idx="4725">
                  <c:v>-9.675966876916426E-3</c:v>
                </c:pt>
                <c:pt idx="4726">
                  <c:v>-9.3077400448569707E-3</c:v>
                </c:pt>
                <c:pt idx="4727">
                  <c:v>-8.9577832472371131E-3</c:v>
                </c:pt>
                <c:pt idx="4728">
                  <c:v>-8.6276610518361916E-3</c:v>
                </c:pt>
                <c:pt idx="4729">
                  <c:v>-7.9768267347699144E-3</c:v>
                </c:pt>
                <c:pt idx="4730">
                  <c:v>-7.4179816539799368E-3</c:v>
                </c:pt>
                <c:pt idx="4731">
                  <c:v>-6.7077618692741861E-3</c:v>
                </c:pt>
                <c:pt idx="4732">
                  <c:v>-6.0150384661806456E-3</c:v>
                </c:pt>
                <c:pt idx="4733">
                  <c:v>-5.2303793576319859E-3</c:v>
                </c:pt>
                <c:pt idx="4734">
                  <c:v>-4.5769534330535998E-3</c:v>
                </c:pt>
                <c:pt idx="4735">
                  <c:v>-3.7850446651721617E-3</c:v>
                </c:pt>
                <c:pt idx="4736">
                  <c:v>-3.0213536620402413E-3</c:v>
                </c:pt>
                <c:pt idx="4737">
                  <c:v>-2.1693179626140688E-3</c:v>
                </c:pt>
                <c:pt idx="4738">
                  <c:v>-1.4254160984538151E-3</c:v>
                </c:pt>
                <c:pt idx="4739">
                  <c:v>-6.6398312900244928E-4</c:v>
                </c:pt>
                <c:pt idx="4740">
                  <c:v>-3.4319514574611756E-5</c:v>
                </c:pt>
                <c:pt idx="4741">
                  <c:v>5.0074341473391529E-4</c:v>
                </c:pt>
                <c:pt idx="4742">
                  <c:v>9.826987191753761E-4</c:v>
                </c:pt>
                <c:pt idx="4743">
                  <c:v>1.3577010776339802E-3</c:v>
                </c:pt>
                <c:pt idx="4744">
                  <c:v>1.9818758938019519E-3</c:v>
                </c:pt>
                <c:pt idx="4745">
                  <c:v>2.8645127080229229E-3</c:v>
                </c:pt>
                <c:pt idx="4746">
                  <c:v>3.5648387233670979E-3</c:v>
                </c:pt>
                <c:pt idx="4747">
                  <c:v>4.2918466732227521E-3</c:v>
                </c:pt>
                <c:pt idx="4748">
                  <c:v>4.9455136006275897E-3</c:v>
                </c:pt>
                <c:pt idx="4749">
                  <c:v>5.3061573878243635E-3</c:v>
                </c:pt>
                <c:pt idx="4750">
                  <c:v>5.8673999114339254E-3</c:v>
                </c:pt>
                <c:pt idx="4751">
                  <c:v>6.6219113280282949E-3</c:v>
                </c:pt>
                <c:pt idx="4752">
                  <c:v>7.2306021883704694E-3</c:v>
                </c:pt>
                <c:pt idx="4753">
                  <c:v>7.7234832540550215E-3</c:v>
                </c:pt>
                <c:pt idx="4754">
                  <c:v>8.1479164301566116E-3</c:v>
                </c:pt>
                <c:pt idx="4755">
                  <c:v>8.3124428276167613E-3</c:v>
                </c:pt>
                <c:pt idx="4756">
                  <c:v>8.264935664605828E-3</c:v>
                </c:pt>
                <c:pt idx="4757">
                  <c:v>8.3769515285740687E-3</c:v>
                </c:pt>
                <c:pt idx="4758">
                  <c:v>8.2540768563080496E-3</c:v>
                </c:pt>
                <c:pt idx="4759">
                  <c:v>8.2063629532090916E-3</c:v>
                </c:pt>
                <c:pt idx="4760">
                  <c:v>7.9220295146272771E-3</c:v>
                </c:pt>
                <c:pt idx="4761">
                  <c:v>7.6414585741446852E-3</c:v>
                </c:pt>
                <c:pt idx="4762">
                  <c:v>7.3687239181958446E-3</c:v>
                </c:pt>
                <c:pt idx="4763">
                  <c:v>7.1031701552128953E-3</c:v>
                </c:pt>
                <c:pt idx="4764">
                  <c:v>6.6265978577523203E-3</c:v>
                </c:pt>
                <c:pt idx="4765">
                  <c:v>6.3244077857183261E-3</c:v>
                </c:pt>
                <c:pt idx="4766">
                  <c:v>5.9231288877366669E-3</c:v>
                </c:pt>
                <c:pt idx="4767">
                  <c:v>5.5275802915443744E-3</c:v>
                </c:pt>
                <c:pt idx="4768">
                  <c:v>5.0014746431439553E-3</c:v>
                </c:pt>
                <c:pt idx="4769">
                  <c:v>4.4748469054008786E-3</c:v>
                </c:pt>
                <c:pt idx="4770">
                  <c:v>3.7809120532478462E-3</c:v>
                </c:pt>
                <c:pt idx="4771">
                  <c:v>3.0266369277229064E-3</c:v>
                </c:pt>
                <c:pt idx="4772">
                  <c:v>2.0922276250685372E-3</c:v>
                </c:pt>
                <c:pt idx="4773">
                  <c:v>1.0040178241259995E-3</c:v>
                </c:pt>
                <c:pt idx="4774">
                  <c:v>2.1970638178499605E-4</c:v>
                </c:pt>
                <c:pt idx="4775">
                  <c:v>-9.8545645183318459E-5</c:v>
                </c:pt>
                <c:pt idx="4776">
                  <c:v>-5.3452892206617107E-4</c:v>
                </c:pt>
                <c:pt idx="4777">
                  <c:v>-5.359771765794611E-4</c:v>
                </c:pt>
                <c:pt idx="4778">
                  <c:v>-3.9538923906462693E-4</c:v>
                </c:pt>
                <c:pt idx="4779">
                  <c:v>-4.5881812578792841E-4</c:v>
                </c:pt>
                <c:pt idx="4780">
                  <c:v>-2.7668293500924222E-4</c:v>
                </c:pt>
                <c:pt idx="4781">
                  <c:v>2.578060118567458E-4</c:v>
                </c:pt>
                <c:pt idx="4782">
                  <c:v>9.1513314605988841E-4</c:v>
                </c:pt>
                <c:pt idx="4783">
                  <c:v>1.5783857243759601E-3</c:v>
                </c:pt>
                <c:pt idx="4784">
                  <c:v>2.0707498069322747E-3</c:v>
                </c:pt>
                <c:pt idx="4785">
                  <c:v>2.3855511655202118E-3</c:v>
                </c:pt>
                <c:pt idx="4786">
                  <c:v>2.568234538022832E-3</c:v>
                </c:pt>
                <c:pt idx="4787">
                  <c:v>3.2720702672096712E-3</c:v>
                </c:pt>
                <c:pt idx="4788">
                  <c:v>3.8382241356223427E-3</c:v>
                </c:pt>
                <c:pt idx="4789">
                  <c:v>4.7095309750827211E-3</c:v>
                </c:pt>
                <c:pt idx="4790">
                  <c:v>5.8587770567692567E-3</c:v>
                </c:pt>
                <c:pt idx="4791">
                  <c:v>7.2589062651860336E-3</c:v>
                </c:pt>
                <c:pt idx="4792">
                  <c:v>8.4994906159495173E-3</c:v>
                </c:pt>
                <c:pt idx="4793">
                  <c:v>9.6242245227400516E-3</c:v>
                </c:pt>
                <c:pt idx="4794">
                  <c:v>1.0552392237392611E-2</c:v>
                </c:pt>
                <c:pt idx="4795">
                  <c:v>1.1380513829585272E-2</c:v>
                </c:pt>
                <c:pt idx="4796">
                  <c:v>1.2372975726923438E-2</c:v>
                </c:pt>
                <c:pt idx="4797">
                  <c:v>1.3222827573936695E-2</c:v>
                </c:pt>
                <c:pt idx="4798">
                  <c:v>1.3778499440771428E-2</c:v>
                </c:pt>
                <c:pt idx="4799">
                  <c:v>1.4325665598508017E-2</c:v>
                </c:pt>
                <c:pt idx="4800">
                  <c:v>1.4674381040898065E-2</c:v>
                </c:pt>
                <c:pt idx="4801">
                  <c:v>1.4810826448305692E-2</c:v>
                </c:pt>
                <c:pt idx="4802">
                  <c:v>1.4823666253083753E-2</c:v>
                </c:pt>
                <c:pt idx="4803">
                  <c:v>1.4736954450209056E-2</c:v>
                </c:pt>
                <c:pt idx="4804">
                  <c:v>1.4444822182921513E-2</c:v>
                </c:pt>
                <c:pt idx="4805">
                  <c:v>1.4091992527751398E-2</c:v>
                </c:pt>
                <c:pt idx="4806">
                  <c:v>1.3580241095916644E-2</c:v>
                </c:pt>
                <c:pt idx="4807">
                  <c:v>1.3239746462026988E-2</c:v>
                </c:pt>
                <c:pt idx="4808">
                  <c:v>1.3008972885463424E-2</c:v>
                </c:pt>
                <c:pt idx="4809">
                  <c:v>1.272165439414954E-2</c:v>
                </c:pt>
                <c:pt idx="4810">
                  <c:v>1.2203561437575517E-2</c:v>
                </c:pt>
                <c:pt idx="4811">
                  <c:v>1.2051732572851673E-2</c:v>
                </c:pt>
                <c:pt idx="4812">
                  <c:v>1.1867727035459285E-2</c:v>
                </c:pt>
                <c:pt idx="4813">
                  <c:v>1.1655100058202654E-2</c:v>
                </c:pt>
                <c:pt idx="4814">
                  <c:v>1.1266500916090034E-2</c:v>
                </c:pt>
                <c:pt idx="4815">
                  <c:v>1.064352761427058E-2</c:v>
                </c:pt>
                <c:pt idx="4816">
                  <c:v>9.8125650496035336E-3</c:v>
                </c:pt>
                <c:pt idx="4817">
                  <c:v>9.1616940870451E-3</c:v>
                </c:pt>
                <c:pt idx="4818">
                  <c:v>8.4521901472244792E-3</c:v>
                </c:pt>
                <c:pt idx="4819">
                  <c:v>7.9639710291224321E-3</c:v>
                </c:pt>
                <c:pt idx="4820">
                  <c:v>7.6638765927738977E-3</c:v>
                </c:pt>
                <c:pt idx="4821">
                  <c:v>7.8564376361852286E-3</c:v>
                </c:pt>
                <c:pt idx="4822">
                  <c:v>7.8631923987279185E-3</c:v>
                </c:pt>
                <c:pt idx="4823">
                  <c:v>7.930900430087021E-3</c:v>
                </c:pt>
                <c:pt idx="4824">
                  <c:v>7.8350198932006596E-3</c:v>
                </c:pt>
                <c:pt idx="4825">
                  <c:v>7.7698154351686245E-3</c:v>
                </c:pt>
                <c:pt idx="4826">
                  <c:v>7.8748863386579864E-3</c:v>
                </c:pt>
                <c:pt idx="4827">
                  <c:v>7.8652346211081445E-3</c:v>
                </c:pt>
                <c:pt idx="4828">
                  <c:v>7.6563854624621796E-3</c:v>
                </c:pt>
                <c:pt idx="4829">
                  <c:v>7.4472413361153702E-3</c:v>
                </c:pt>
                <c:pt idx="4830">
                  <c:v>7.104468541730637E-3</c:v>
                </c:pt>
                <c:pt idx="4831">
                  <c:v>6.5910958874962743E-3</c:v>
                </c:pt>
                <c:pt idx="4832">
                  <c:v>6.2556482721830755E-3</c:v>
                </c:pt>
                <c:pt idx="4833">
                  <c:v>5.867237420976763E-3</c:v>
                </c:pt>
                <c:pt idx="4834">
                  <c:v>5.42449151543937E-3</c:v>
                </c:pt>
                <c:pt idx="4835">
                  <c:v>4.767367554201948E-3</c:v>
                </c:pt>
                <c:pt idx="4836">
                  <c:v>4.0656935756039885E-3</c:v>
                </c:pt>
                <c:pt idx="4837">
                  <c:v>3.3514307007488382E-3</c:v>
                </c:pt>
                <c:pt idx="4838">
                  <c:v>2.8159182631611688E-3</c:v>
                </c:pt>
                <c:pt idx="4839">
                  <c:v>2.5811307637256496E-3</c:v>
                </c:pt>
                <c:pt idx="4840">
                  <c:v>2.4027118436592831E-3</c:v>
                </c:pt>
                <c:pt idx="4841">
                  <c:v>2.4839527260933913E-3</c:v>
                </c:pt>
                <c:pt idx="4842">
                  <c:v>2.375488661619669E-3</c:v>
                </c:pt>
                <c:pt idx="4843">
                  <c:v>2.7795316365255129E-3</c:v>
                </c:pt>
                <c:pt idx="4844">
                  <c:v>3.1056407426184925E-3</c:v>
                </c:pt>
                <c:pt idx="4845">
                  <c:v>3.2243790942828223E-3</c:v>
                </c:pt>
                <c:pt idx="4846">
                  <c:v>3.6171193268862614E-3</c:v>
                </c:pt>
                <c:pt idx="4847">
                  <c:v>4.3003400266168421E-3</c:v>
                </c:pt>
                <c:pt idx="4848">
                  <c:v>4.949887016048907E-3</c:v>
                </c:pt>
                <c:pt idx="4849">
                  <c:v>5.5574509981136406E-3</c:v>
                </c:pt>
                <c:pt idx="4850">
                  <c:v>5.9171956702470992E-3</c:v>
                </c:pt>
                <c:pt idx="4851">
                  <c:v>6.4307041402319413E-3</c:v>
                </c:pt>
                <c:pt idx="4852">
                  <c:v>6.8114749882645497E-3</c:v>
                </c:pt>
                <c:pt idx="4853">
                  <c:v>7.1362077402618556E-3</c:v>
                </c:pt>
                <c:pt idx="4854">
                  <c:v>7.6339760459191979E-3</c:v>
                </c:pt>
                <c:pt idx="4855">
                  <c:v>8.1285934000925302E-3</c:v>
                </c:pt>
                <c:pt idx="4856">
                  <c:v>8.4059130030457608E-3</c:v>
                </c:pt>
                <c:pt idx="4857">
                  <c:v>8.5123051151643463E-3</c:v>
                </c:pt>
                <c:pt idx="4858">
                  <c:v>8.5059271005843828E-3</c:v>
                </c:pt>
                <c:pt idx="4859">
                  <c:v>8.3136984868292258E-3</c:v>
                </c:pt>
                <c:pt idx="4860">
                  <c:v>7.8950240117143435E-3</c:v>
                </c:pt>
                <c:pt idx="4861">
                  <c:v>7.4336790768885341E-3</c:v>
                </c:pt>
                <c:pt idx="4862">
                  <c:v>7.2865874690304869E-3</c:v>
                </c:pt>
                <c:pt idx="4863">
                  <c:v>7.0226363562907509E-3</c:v>
                </c:pt>
                <c:pt idx="4864">
                  <c:v>6.710563697184908E-3</c:v>
                </c:pt>
                <c:pt idx="4865">
                  <c:v>6.3249645549028847E-3</c:v>
                </c:pt>
                <c:pt idx="4866">
                  <c:v>5.8065298354400986E-3</c:v>
                </c:pt>
                <c:pt idx="4867">
                  <c:v>5.2354892868460168E-3</c:v>
                </c:pt>
                <c:pt idx="4868">
                  <c:v>4.7112127209727687E-3</c:v>
                </c:pt>
                <c:pt idx="4869">
                  <c:v>4.220961507045656E-3</c:v>
                </c:pt>
                <c:pt idx="4870">
                  <c:v>3.7740732912789083E-3</c:v>
                </c:pt>
                <c:pt idx="4871">
                  <c:v>3.0878861323923121E-3</c:v>
                </c:pt>
                <c:pt idx="4872">
                  <c:v>2.2803851872135704E-3</c:v>
                </c:pt>
                <c:pt idx="4873">
                  <c:v>1.9779729552637879E-3</c:v>
                </c:pt>
                <c:pt idx="4874">
                  <c:v>1.5926076780190656E-3</c:v>
                </c:pt>
                <c:pt idx="4875">
                  <c:v>1.1613827573959956E-3</c:v>
                </c:pt>
                <c:pt idx="4876">
                  <c:v>1.0341364668227399E-3</c:v>
                </c:pt>
                <c:pt idx="4877">
                  <c:v>1.3302261042342691E-3</c:v>
                </c:pt>
                <c:pt idx="4878">
                  <c:v>1.4314887412456151E-3</c:v>
                </c:pt>
                <c:pt idx="4879">
                  <c:v>1.5838667657127187E-3</c:v>
                </c:pt>
                <c:pt idx="4880">
                  <c:v>1.6944445647554107E-3</c:v>
                </c:pt>
                <c:pt idx="4881">
                  <c:v>2.0547797652766125E-3</c:v>
                </c:pt>
                <c:pt idx="4882">
                  <c:v>2.2288557720741252E-3</c:v>
                </c:pt>
                <c:pt idx="4883">
                  <c:v>2.3527530838173445E-3</c:v>
                </c:pt>
                <c:pt idx="4884">
                  <c:v>2.7645801065885132E-3</c:v>
                </c:pt>
                <c:pt idx="4885">
                  <c:v>3.0638828690085548E-3</c:v>
                </c:pt>
                <c:pt idx="4886">
                  <c:v>3.2528594005885435E-3</c:v>
                </c:pt>
                <c:pt idx="4887">
                  <c:v>3.4622959114171386E-3</c:v>
                </c:pt>
                <c:pt idx="4888">
                  <c:v>4.0642425975415206E-3</c:v>
                </c:pt>
                <c:pt idx="4889">
                  <c:v>4.4321772987547161E-3</c:v>
                </c:pt>
                <c:pt idx="4890">
                  <c:v>4.6263513717445335E-3</c:v>
                </c:pt>
                <c:pt idx="4891">
                  <c:v>4.7644572656378569E-3</c:v>
                </c:pt>
                <c:pt idx="4892">
                  <c:v>5.106231734972785E-3</c:v>
                </c:pt>
                <c:pt idx="4893">
                  <c:v>5.2790088747991532E-3</c:v>
                </c:pt>
                <c:pt idx="4894">
                  <c:v>5.5318115945137674E-3</c:v>
                </c:pt>
                <c:pt idx="4895">
                  <c:v>5.9451461238966812E-3</c:v>
                </c:pt>
                <c:pt idx="4896">
                  <c:v>6.4392910672205258E-3</c:v>
                </c:pt>
                <c:pt idx="4897">
                  <c:v>6.8925594383600196E-3</c:v>
                </c:pt>
                <c:pt idx="4898">
                  <c:v>7.2891971595877274E-3</c:v>
                </c:pt>
                <c:pt idx="4899">
                  <c:v>7.5412647310515914E-3</c:v>
                </c:pt>
                <c:pt idx="4900">
                  <c:v>7.9474279071073736E-3</c:v>
                </c:pt>
                <c:pt idx="4901">
                  <c:v>8.1591890347758132E-3</c:v>
                </c:pt>
                <c:pt idx="4902">
                  <c:v>8.2917845220453808E-3</c:v>
                </c:pt>
                <c:pt idx="4903">
                  <c:v>8.3037122498307563E-3</c:v>
                </c:pt>
                <c:pt idx="4904">
                  <c:v>8.4512947029787237E-3</c:v>
                </c:pt>
                <c:pt idx="4905">
                  <c:v>8.5272483438192433E-3</c:v>
                </c:pt>
                <c:pt idx="4906">
                  <c:v>8.5906238220601738E-3</c:v>
                </c:pt>
                <c:pt idx="4907">
                  <c:v>8.6259433476047701E-3</c:v>
                </c:pt>
                <c:pt idx="4908">
                  <c:v>8.4250802071745238E-3</c:v>
                </c:pt>
                <c:pt idx="4909">
                  <c:v>8.2149102902647608E-3</c:v>
                </c:pt>
                <c:pt idx="4910">
                  <c:v>7.929513043943048E-3</c:v>
                </c:pt>
                <c:pt idx="4911">
                  <c:v>7.7743054781222436E-3</c:v>
                </c:pt>
                <c:pt idx="4912">
                  <c:v>7.4561325329294843E-3</c:v>
                </c:pt>
                <c:pt idx="4913">
                  <c:v>7.0840199214582279E-3</c:v>
                </c:pt>
                <c:pt idx="4914">
                  <c:v>6.9161168932774988E-3</c:v>
                </c:pt>
                <c:pt idx="4915">
                  <c:v>6.8411911857995372E-3</c:v>
                </c:pt>
                <c:pt idx="4916">
                  <c:v>6.5696943097452633E-3</c:v>
                </c:pt>
                <c:pt idx="4917">
                  <c:v>6.3905339398638451E-3</c:v>
                </c:pt>
                <c:pt idx="4918">
                  <c:v>6.5049755389987151E-3</c:v>
                </c:pt>
                <c:pt idx="4919">
                  <c:v>6.698676517006218E-3</c:v>
                </c:pt>
                <c:pt idx="4920">
                  <c:v>6.6201442648681202E-3</c:v>
                </c:pt>
                <c:pt idx="4921">
                  <c:v>6.3143938674009529E-3</c:v>
                </c:pt>
                <c:pt idx="4922">
                  <c:v>6.018251754603238E-3</c:v>
                </c:pt>
                <c:pt idx="4923">
                  <c:v>5.819568010927775E-3</c:v>
                </c:pt>
                <c:pt idx="4924">
                  <c:v>5.626414747754294E-3</c:v>
                </c:pt>
                <c:pt idx="4925">
                  <c:v>5.6101581855117644E-3</c:v>
                </c:pt>
                <c:pt idx="4926">
                  <c:v>5.683346295108754E-3</c:v>
                </c:pt>
                <c:pt idx="4927">
                  <c:v>5.5207828855094194E-3</c:v>
                </c:pt>
                <c:pt idx="4928">
                  <c:v>5.4636720381755401E-3</c:v>
                </c:pt>
                <c:pt idx="4929">
                  <c:v>5.265088962095996E-3</c:v>
                </c:pt>
                <c:pt idx="4930">
                  <c:v>5.5055495658032447E-3</c:v>
                </c:pt>
                <c:pt idx="4931">
                  <c:v>5.8301144027822129E-3</c:v>
                </c:pt>
                <c:pt idx="4932">
                  <c:v>6.0920941217462981E-3</c:v>
                </c:pt>
                <c:pt idx="4933">
                  <c:v>6.2506102619377512E-3</c:v>
                </c:pt>
                <c:pt idx="4934">
                  <c:v>6.683946640651731E-3</c:v>
                </c:pt>
                <c:pt idx="4935">
                  <c:v>7.0570951046383338E-3</c:v>
                </c:pt>
                <c:pt idx="4936">
                  <c:v>7.3866101396936803E-3</c:v>
                </c:pt>
                <c:pt idx="4937">
                  <c:v>7.9378229341075333E-3</c:v>
                </c:pt>
                <c:pt idx="4938">
                  <c:v>8.2910569070530817E-3</c:v>
                </c:pt>
                <c:pt idx="4939">
                  <c:v>8.4262061365799664E-3</c:v>
                </c:pt>
                <c:pt idx="4940">
                  <c:v>8.5390604732414662E-3</c:v>
                </c:pt>
                <c:pt idx="4941">
                  <c:v>8.5090962891536202E-3</c:v>
                </c:pt>
                <c:pt idx="4942">
                  <c:v>8.3270836569774558E-3</c:v>
                </c:pt>
                <c:pt idx="4943">
                  <c:v>7.9991551299379241E-3</c:v>
                </c:pt>
                <c:pt idx="4944">
                  <c:v>7.827744504758467E-3</c:v>
                </c:pt>
                <c:pt idx="4945">
                  <c:v>7.7133755766883808E-3</c:v>
                </c:pt>
                <c:pt idx="4946">
                  <c:v>7.4147885572733805E-3</c:v>
                </c:pt>
                <c:pt idx="4947">
                  <c:v>7.1293172899625796E-3</c:v>
                </c:pt>
                <c:pt idx="4948">
                  <c:v>6.6750843064578413E-3</c:v>
                </c:pt>
                <c:pt idx="4949">
                  <c:v>6.2604760276334537E-3</c:v>
                </c:pt>
                <c:pt idx="4950">
                  <c:v>5.7291340887426021E-3</c:v>
                </c:pt>
                <c:pt idx="4951">
                  <c:v>5.0265774401039385E-3</c:v>
                </c:pt>
                <c:pt idx="4952">
                  <c:v>4.2480065486391241E-3</c:v>
                </c:pt>
                <c:pt idx="4953">
                  <c:v>3.5776328617228171E-3</c:v>
                </c:pt>
                <c:pt idx="4954">
                  <c:v>2.8252409365661976E-3</c:v>
                </c:pt>
                <c:pt idx="4955">
                  <c:v>2.0324278782352205E-3</c:v>
                </c:pt>
                <c:pt idx="4956">
                  <c:v>9.9662493456451409E-4</c:v>
                </c:pt>
                <c:pt idx="4957">
                  <c:v>-1.5499452240928628E-4</c:v>
                </c:pt>
                <c:pt idx="4958">
                  <c:v>-1.4436749677385584E-3</c:v>
                </c:pt>
                <c:pt idx="4959">
                  <c:v>-2.8970195062178426E-3</c:v>
                </c:pt>
                <c:pt idx="4960">
                  <c:v>-4.0741889732521484E-3</c:v>
                </c:pt>
                <c:pt idx="4961">
                  <c:v>-4.9808636789419342E-3</c:v>
                </c:pt>
                <c:pt idx="4962">
                  <c:v>-6.094240479029291E-3</c:v>
                </c:pt>
                <c:pt idx="4963">
                  <c:v>-7.3898605066425281E-3</c:v>
                </c:pt>
                <c:pt idx="4964">
                  <c:v>-8.3435895452572927E-3</c:v>
                </c:pt>
                <c:pt idx="4965">
                  <c:v>-9.2845536280528624E-3</c:v>
                </c:pt>
                <c:pt idx="4966">
                  <c:v>-1.0400983197268579E-2</c:v>
                </c:pt>
                <c:pt idx="4967">
                  <c:v>-1.0708517921849172E-2</c:v>
                </c:pt>
                <c:pt idx="4968">
                  <c:v>-1.1097182685670863E-2</c:v>
                </c:pt>
                <c:pt idx="4969">
                  <c:v>-1.1639149834127734E-2</c:v>
                </c:pt>
                <c:pt idx="4970">
                  <c:v>-1.1903460423078575E-2</c:v>
                </c:pt>
                <c:pt idx="4971">
                  <c:v>-1.22871896638605E-2</c:v>
                </c:pt>
                <c:pt idx="4972">
                  <c:v>-1.2391015472846153E-2</c:v>
                </c:pt>
                <c:pt idx="4973">
                  <c:v>-1.2408338745028325E-2</c:v>
                </c:pt>
                <c:pt idx="4974">
                  <c:v>-1.2443855479489171E-2</c:v>
                </c:pt>
                <c:pt idx="4975">
                  <c:v>-1.2463091208508238E-2</c:v>
                </c:pt>
                <c:pt idx="4976">
                  <c:v>-1.247291386414213E-2</c:v>
                </c:pt>
                <c:pt idx="4977">
                  <c:v>-1.2482059775327974E-2</c:v>
                </c:pt>
                <c:pt idx="4978">
                  <c:v>-1.2481986136153297E-2</c:v>
                </c:pt>
                <c:pt idx="4979">
                  <c:v>-1.2474277784443134E-2</c:v>
                </c:pt>
                <c:pt idx="4980">
                  <c:v>-1.2481901409136392E-2</c:v>
                </c:pt>
                <c:pt idx="4981">
                  <c:v>-1.2474013042892413E-2</c:v>
                </c:pt>
                <c:pt idx="4982">
                  <c:v>-1.2498381751105909E-2</c:v>
                </c:pt>
                <c:pt idx="4983">
                  <c:v>-1.2498553908156469E-2</c:v>
                </c:pt>
                <c:pt idx="4984">
                  <c:v>-1.2528208173311878E-2</c:v>
                </c:pt>
                <c:pt idx="4985">
                  <c:v>-1.2528676553624503E-2</c:v>
                </c:pt>
                <c:pt idx="4986">
                  <c:v>-1.2499752653407928E-2</c:v>
                </c:pt>
                <c:pt idx="4987">
                  <c:v>-1.2475885078175337E-2</c:v>
                </c:pt>
                <c:pt idx="4988">
                  <c:v>-1.2469067178014845E-2</c:v>
                </c:pt>
                <c:pt idx="4989">
                  <c:v>-1.2462805601132968E-2</c:v>
                </c:pt>
                <c:pt idx="4990">
                  <c:v>-1.2482913521491071E-2</c:v>
                </c:pt>
                <c:pt idx="4991">
                  <c:v>-1.2508840560103348E-2</c:v>
                </c:pt>
                <c:pt idx="4992">
                  <c:v>-1.2509303213602052E-2</c:v>
                </c:pt>
                <c:pt idx="4993">
                  <c:v>-1.2488637454032999E-2</c:v>
                </c:pt>
                <c:pt idx="4994">
                  <c:v>-1.2486485777697802E-2</c:v>
                </c:pt>
                <c:pt idx="4995">
                  <c:v>-1.2509282710617688E-2</c:v>
                </c:pt>
                <c:pt idx="4996">
                  <c:v>-1.2512835110056813E-2</c:v>
                </c:pt>
                <c:pt idx="4997">
                  <c:v>-1.2544468650106069E-2</c:v>
                </c:pt>
                <c:pt idx="4998">
                  <c:v>-1.2531854889466164E-2</c:v>
                </c:pt>
                <c:pt idx="4999">
                  <c:v>-1.2526310016432719E-2</c:v>
                </c:pt>
                <c:pt idx="5000">
                  <c:v>-1.2521526775968137E-2</c:v>
                </c:pt>
                <c:pt idx="5001">
                  <c:v>-1.2516075567938448E-2</c:v>
                </c:pt>
                <c:pt idx="5002">
                  <c:v>-1.2550081716712732E-2</c:v>
                </c:pt>
                <c:pt idx="5003">
                  <c:v>-1.2548884448777376E-2</c:v>
                </c:pt>
                <c:pt idx="5004">
                  <c:v>-1.2547987442515328E-2</c:v>
                </c:pt>
                <c:pt idx="5005">
                  <c:v>-1.2546414068266371E-2</c:v>
                </c:pt>
                <c:pt idx="5006">
                  <c:v>-1.2545088512379347E-2</c:v>
                </c:pt>
                <c:pt idx="5007">
                  <c:v>-1.254351881792031E-2</c:v>
                </c:pt>
                <c:pt idx="5008">
                  <c:v>-1.2542444044340743E-2</c:v>
                </c:pt>
                <c:pt idx="5009">
                  <c:v>-1.254206865262192E-2</c:v>
                </c:pt>
                <c:pt idx="5010">
                  <c:v>-1.254096725927391E-2</c:v>
                </c:pt>
                <c:pt idx="5011">
                  <c:v>-1.2527129188597209E-2</c:v>
                </c:pt>
                <c:pt idx="5012">
                  <c:v>-1.2513701477959409E-2</c:v>
                </c:pt>
                <c:pt idx="5013">
                  <c:v>-1.250155610459323E-2</c:v>
                </c:pt>
                <c:pt idx="5014">
                  <c:v>-1.2499902246304808E-2</c:v>
                </c:pt>
                <c:pt idx="5015">
                  <c:v>-1.2496669122620648E-2</c:v>
                </c:pt>
                <c:pt idx="5016">
                  <c:v>-1.250611725792113E-2</c:v>
                </c:pt>
                <c:pt idx="5017">
                  <c:v>-1.2543504072811637E-2</c:v>
                </c:pt>
                <c:pt idx="5018">
                  <c:v>-1.2547879373285005E-2</c:v>
                </c:pt>
                <c:pt idx="5019">
                  <c:v>-1.2532418983772461E-2</c:v>
                </c:pt>
                <c:pt idx="5020">
                  <c:v>-1.2525646833825541E-2</c:v>
                </c:pt>
                <c:pt idx="5021">
                  <c:v>-1.2525353019835136E-2</c:v>
                </c:pt>
                <c:pt idx="5022">
                  <c:v>-1.252633951661339E-2</c:v>
                </c:pt>
                <c:pt idx="5023">
                  <c:v>-1.2527258147068697E-2</c:v>
                </c:pt>
                <c:pt idx="5024">
                  <c:v>-1.2526531272998491E-2</c:v>
                </c:pt>
                <c:pt idx="5025">
                  <c:v>-1.2515375602371969E-2</c:v>
                </c:pt>
                <c:pt idx="5026">
                  <c:v>-1.2532796642866285E-2</c:v>
                </c:pt>
                <c:pt idx="5027">
                  <c:v>-1.2533666677881717E-2</c:v>
                </c:pt>
                <c:pt idx="5028">
                  <c:v>-1.2546850625808509E-2</c:v>
                </c:pt>
                <c:pt idx="5029">
                  <c:v>-1.2550397814779644E-2</c:v>
                </c:pt>
                <c:pt idx="5030">
                  <c:v>-1.2554249702040202E-2</c:v>
                </c:pt>
                <c:pt idx="5031">
                  <c:v>-1.2556605035495928E-2</c:v>
                </c:pt>
                <c:pt idx="5032">
                  <c:v>-1.2619971502919339E-2</c:v>
                </c:pt>
                <c:pt idx="5033">
                  <c:v>-1.2619489743982996E-2</c:v>
                </c:pt>
                <c:pt idx="5034">
                  <c:v>-1.2619482104354367E-2</c:v>
                </c:pt>
                <c:pt idx="5035">
                  <c:v>-1.2618821005785163E-2</c:v>
                </c:pt>
                <c:pt idx="5036">
                  <c:v>-1.2612490234755152E-2</c:v>
                </c:pt>
                <c:pt idx="5037">
                  <c:v>-1.2600399827664258E-2</c:v>
                </c:pt>
                <c:pt idx="5038">
                  <c:v>-1.2594552307827059E-2</c:v>
                </c:pt>
                <c:pt idx="5039">
                  <c:v>-1.2568764606870991E-2</c:v>
                </c:pt>
                <c:pt idx="5040">
                  <c:v>-1.2531418401136026E-2</c:v>
                </c:pt>
                <c:pt idx="5041">
                  <c:v>-1.2519798256649705E-2</c:v>
                </c:pt>
                <c:pt idx="5042">
                  <c:v>-1.2531035754053441E-2</c:v>
                </c:pt>
                <c:pt idx="5043">
                  <c:v>-1.2505616978531805E-2</c:v>
                </c:pt>
                <c:pt idx="5044">
                  <c:v>-1.248973985926911E-2</c:v>
                </c:pt>
                <c:pt idx="5045">
                  <c:v>-1.2491636140933461E-2</c:v>
                </c:pt>
                <c:pt idx="5046">
                  <c:v>-1.2503053442250597E-2</c:v>
                </c:pt>
                <c:pt idx="5047">
                  <c:v>-1.2493234394956565E-2</c:v>
                </c:pt>
                <c:pt idx="5048">
                  <c:v>-1.248845285048752E-2</c:v>
                </c:pt>
                <c:pt idx="5049">
                  <c:v>-1.2486438550303585E-2</c:v>
                </c:pt>
                <c:pt idx="5050">
                  <c:v>-1.2487835679109091E-2</c:v>
                </c:pt>
                <c:pt idx="5051">
                  <c:v>-1.2478813697678908E-2</c:v>
                </c:pt>
                <c:pt idx="5052">
                  <c:v>-1.2448517117718015E-2</c:v>
                </c:pt>
                <c:pt idx="5053">
                  <c:v>-1.2408100820330659E-2</c:v>
                </c:pt>
                <c:pt idx="5054">
                  <c:v>-1.2396545131501298E-2</c:v>
                </c:pt>
                <c:pt idx="5055">
                  <c:v>-1.2395422769041939E-2</c:v>
                </c:pt>
                <c:pt idx="5056">
                  <c:v>-1.2345861009888125E-2</c:v>
                </c:pt>
                <c:pt idx="5057">
                  <c:v>-1.2338060946606114E-2</c:v>
                </c:pt>
                <c:pt idx="5058">
                  <c:v>-1.2329752200857297E-2</c:v>
                </c:pt>
                <c:pt idx="5059">
                  <c:v>-1.2310801876545572E-2</c:v>
                </c:pt>
                <c:pt idx="5060">
                  <c:v>-1.2292670398592307E-2</c:v>
                </c:pt>
                <c:pt idx="5061">
                  <c:v>-1.2277063822951129E-2</c:v>
                </c:pt>
                <c:pt idx="5062">
                  <c:v>-1.2249825363686576E-2</c:v>
                </c:pt>
                <c:pt idx="5063">
                  <c:v>-1.2196721112099629E-2</c:v>
                </c:pt>
                <c:pt idx="5064">
                  <c:v>-1.2162460188219674E-2</c:v>
                </c:pt>
                <c:pt idx="5065">
                  <c:v>-1.2149119295206441E-2</c:v>
                </c:pt>
                <c:pt idx="5066">
                  <c:v>-1.2111719733277007E-2</c:v>
                </c:pt>
                <c:pt idx="5067">
                  <c:v>-1.2089572915631942E-2</c:v>
                </c:pt>
                <c:pt idx="5068">
                  <c:v>-1.2070864203704252E-2</c:v>
                </c:pt>
                <c:pt idx="5069">
                  <c:v>-1.205832497053231E-2</c:v>
                </c:pt>
                <c:pt idx="5070">
                  <c:v>-1.2048493712170455E-2</c:v>
                </c:pt>
                <c:pt idx="5071">
                  <c:v>-1.2018635543727728E-2</c:v>
                </c:pt>
                <c:pt idx="5072">
                  <c:v>-1.1991509610992197E-2</c:v>
                </c:pt>
                <c:pt idx="5073">
                  <c:v>-1.2012170601021943E-2</c:v>
                </c:pt>
                <c:pt idx="5074">
                  <c:v>-1.1822799981939467E-2</c:v>
                </c:pt>
                <c:pt idx="5075">
                  <c:v>-1.1511521553047686E-2</c:v>
                </c:pt>
                <c:pt idx="5076">
                  <c:v>-1.0071640687178154E-2</c:v>
                </c:pt>
                <c:pt idx="5077">
                  <c:v>-8.2551972051439389E-3</c:v>
                </c:pt>
                <c:pt idx="5078">
                  <c:v>-7.1132807880414E-3</c:v>
                </c:pt>
                <c:pt idx="5079">
                  <c:v>-6.0206618858545972E-3</c:v>
                </c:pt>
                <c:pt idx="5080">
                  <c:v>-4.6942292272299721E-3</c:v>
                </c:pt>
                <c:pt idx="5081">
                  <c:v>-3.2448723657975825E-3</c:v>
                </c:pt>
                <c:pt idx="5082">
                  <c:v>-2.0596970596931732E-3</c:v>
                </c:pt>
                <c:pt idx="5083">
                  <c:v>-3.7625299201038062E-4</c:v>
                </c:pt>
                <c:pt idx="5084">
                  <c:v>9.8255451523408636E-4</c:v>
                </c:pt>
                <c:pt idx="5085">
                  <c:v>2.4786731891114633E-3</c:v>
                </c:pt>
                <c:pt idx="5086">
                  <c:v>4.2166167537074344E-3</c:v>
                </c:pt>
                <c:pt idx="5087">
                  <c:v>5.8936242986646886E-3</c:v>
                </c:pt>
                <c:pt idx="5088">
                  <c:v>7.6636598730287688E-3</c:v>
                </c:pt>
                <c:pt idx="5089">
                  <c:v>9.4072444902145395E-3</c:v>
                </c:pt>
                <c:pt idx="5090">
                  <c:v>1.0838407410869536E-2</c:v>
                </c:pt>
                <c:pt idx="5091">
                  <c:v>1.2244088671268501E-2</c:v>
                </c:pt>
                <c:pt idx="5092">
                  <c:v>1.3881076565745864E-2</c:v>
                </c:pt>
                <c:pt idx="5093">
                  <c:v>1.5239697612687066E-2</c:v>
                </c:pt>
                <c:pt idx="5094">
                  <c:v>1.6396857564687541E-2</c:v>
                </c:pt>
                <c:pt idx="5095">
                  <c:v>1.7530871347124929E-2</c:v>
                </c:pt>
                <c:pt idx="5096">
                  <c:v>1.8769662702671205E-2</c:v>
                </c:pt>
                <c:pt idx="5097">
                  <c:v>1.9888616495338109E-2</c:v>
                </c:pt>
                <c:pt idx="5098">
                  <c:v>2.0748219041772736E-2</c:v>
                </c:pt>
                <c:pt idx="5099">
                  <c:v>2.1389289870786969E-2</c:v>
                </c:pt>
                <c:pt idx="5100">
                  <c:v>2.1661257297587874E-2</c:v>
                </c:pt>
                <c:pt idx="5101">
                  <c:v>2.182005466383731E-2</c:v>
                </c:pt>
                <c:pt idx="5102">
                  <c:v>2.1660271601053611E-2</c:v>
                </c:pt>
                <c:pt idx="5103">
                  <c:v>2.1174494987846036E-2</c:v>
                </c:pt>
                <c:pt idx="5104">
                  <c:v>2.0435237813122606E-2</c:v>
                </c:pt>
                <c:pt idx="5105">
                  <c:v>1.9575837058481357E-2</c:v>
                </c:pt>
                <c:pt idx="5106">
                  <c:v>1.8863702267703834E-2</c:v>
                </c:pt>
                <c:pt idx="5107">
                  <c:v>1.8290086823163298E-2</c:v>
                </c:pt>
                <c:pt idx="5108">
                  <c:v>1.7479725834221339E-2</c:v>
                </c:pt>
                <c:pt idx="5109">
                  <c:v>1.6642390677526278E-2</c:v>
                </c:pt>
                <c:pt idx="5110">
                  <c:v>1.5977531485682608E-2</c:v>
                </c:pt>
                <c:pt idx="5111">
                  <c:v>1.5241630952709707E-2</c:v>
                </c:pt>
                <c:pt idx="5112">
                  <c:v>1.4173322569276935E-2</c:v>
                </c:pt>
                <c:pt idx="5113">
                  <c:v>1.3977830364559277E-2</c:v>
                </c:pt>
                <c:pt idx="5114">
                  <c:v>1.3484435509421576E-2</c:v>
                </c:pt>
                <c:pt idx="5115">
                  <c:v>1.2986710741790761E-2</c:v>
                </c:pt>
                <c:pt idx="5116">
                  <c:v>1.2713611066233721E-2</c:v>
                </c:pt>
                <c:pt idx="5117">
                  <c:v>1.2305882028070451E-2</c:v>
                </c:pt>
                <c:pt idx="5118">
                  <c:v>1.2449127732218066E-2</c:v>
                </c:pt>
                <c:pt idx="5119">
                  <c:v>1.2723101317479843E-2</c:v>
                </c:pt>
                <c:pt idx="5120">
                  <c:v>1.3599209183547735E-2</c:v>
                </c:pt>
                <c:pt idx="5121">
                  <c:v>1.4552876939593734E-2</c:v>
                </c:pt>
                <c:pt idx="5122">
                  <c:v>1.6517590381864837E-2</c:v>
                </c:pt>
                <c:pt idx="5123">
                  <c:v>1.8001550494094978E-2</c:v>
                </c:pt>
                <c:pt idx="5124">
                  <c:v>1.9385431272533095E-2</c:v>
                </c:pt>
                <c:pt idx="5125">
                  <c:v>2.0952818760537589E-2</c:v>
                </c:pt>
                <c:pt idx="5126">
                  <c:v>2.2576068948755225E-2</c:v>
                </c:pt>
                <c:pt idx="5127">
                  <c:v>2.3955800921248417E-2</c:v>
                </c:pt>
                <c:pt idx="5128">
                  <c:v>2.6072888931866774E-2</c:v>
                </c:pt>
                <c:pt idx="5129">
                  <c:v>2.8008109462822062E-2</c:v>
                </c:pt>
                <c:pt idx="5130">
                  <c:v>3.0244064357473843E-2</c:v>
                </c:pt>
                <c:pt idx="5131">
                  <c:v>3.3270152574205965E-2</c:v>
                </c:pt>
                <c:pt idx="5132">
                  <c:v>3.5920728030088958E-2</c:v>
                </c:pt>
                <c:pt idx="5133">
                  <c:v>3.8108396992345632E-2</c:v>
                </c:pt>
                <c:pt idx="5134">
                  <c:v>3.9919511369171559E-2</c:v>
                </c:pt>
                <c:pt idx="5135">
                  <c:v>4.188200579773909E-2</c:v>
                </c:pt>
                <c:pt idx="5136">
                  <c:v>4.331035268688474E-2</c:v>
                </c:pt>
                <c:pt idx="5137">
                  <c:v>4.4613968700232577E-2</c:v>
                </c:pt>
                <c:pt idx="5138">
                  <c:v>4.54584294537448E-2</c:v>
                </c:pt>
                <c:pt idx="5139">
                  <c:v>5.5010945798335126E-2</c:v>
                </c:pt>
                <c:pt idx="5140">
                  <c:v>7.0977775184052821E-2</c:v>
                </c:pt>
                <c:pt idx="5141">
                  <c:v>8.8689230886109346E-2</c:v>
                </c:pt>
                <c:pt idx="5142">
                  <c:v>9.3301886011563098E-2</c:v>
                </c:pt>
                <c:pt idx="5143">
                  <c:v>9.2591826860580581E-2</c:v>
                </c:pt>
                <c:pt idx="5144">
                  <c:v>9.1670003070249736E-2</c:v>
                </c:pt>
                <c:pt idx="5145">
                  <c:v>9.0492406021389943E-2</c:v>
                </c:pt>
                <c:pt idx="5146">
                  <c:v>8.9202212033610936E-2</c:v>
                </c:pt>
                <c:pt idx="5147">
                  <c:v>8.741170758855546E-2</c:v>
                </c:pt>
                <c:pt idx="5148">
                  <c:v>8.5938509191865298E-2</c:v>
                </c:pt>
                <c:pt idx="5149">
                  <c:v>8.4284144557419366E-2</c:v>
                </c:pt>
                <c:pt idx="5150">
                  <c:v>8.2689532037490868E-2</c:v>
                </c:pt>
                <c:pt idx="5151">
                  <c:v>8.1080480247144149E-2</c:v>
                </c:pt>
                <c:pt idx="5152">
                  <c:v>7.9780292477171652E-2</c:v>
                </c:pt>
                <c:pt idx="5153">
                  <c:v>7.828231678418418E-2</c:v>
                </c:pt>
                <c:pt idx="5154">
                  <c:v>7.6738986246623675E-2</c:v>
                </c:pt>
                <c:pt idx="5155">
                  <c:v>7.5152656700228831E-2</c:v>
                </c:pt>
                <c:pt idx="5156">
                  <c:v>7.3285584417763686E-2</c:v>
                </c:pt>
                <c:pt idx="5157">
                  <c:v>7.0936749242863778E-2</c:v>
                </c:pt>
                <c:pt idx="5158">
                  <c:v>6.9057840598357567E-2</c:v>
                </c:pt>
                <c:pt idx="5159">
                  <c:v>6.6995917892543236E-2</c:v>
                </c:pt>
                <c:pt idx="5160">
                  <c:v>6.5339506686741558E-2</c:v>
                </c:pt>
                <c:pt idx="5161">
                  <c:v>6.4296285642572754E-2</c:v>
                </c:pt>
                <c:pt idx="5162">
                  <c:v>6.3263652361132475E-2</c:v>
                </c:pt>
                <c:pt idx="5163">
                  <c:v>6.224088499262892E-2</c:v>
                </c:pt>
                <c:pt idx="5164">
                  <c:v>6.1218640951187078E-2</c:v>
                </c:pt>
                <c:pt idx="5165">
                  <c:v>6.0397882788410712E-2</c:v>
                </c:pt>
                <c:pt idx="5166">
                  <c:v>5.9598047305861976E-2</c:v>
                </c:pt>
                <c:pt idx="5167">
                  <c:v>5.892500105988116E-2</c:v>
                </c:pt>
                <c:pt idx="5168">
                  <c:v>5.8267694601545003E-2</c:v>
                </c:pt>
                <c:pt idx="5169">
                  <c:v>5.7268733032432295E-2</c:v>
                </c:pt>
                <c:pt idx="5170">
                  <c:v>5.169596976880507E-2</c:v>
                </c:pt>
                <c:pt idx="5171">
                  <c:v>3.4064562975818329E-2</c:v>
                </c:pt>
                <c:pt idx="5172">
                  <c:v>1.6525269920979191E-2</c:v>
                </c:pt>
                <c:pt idx="5173">
                  <c:v>3.0109375164603734E-2</c:v>
                </c:pt>
                <c:pt idx="5174">
                  <c:v>4.7039087407127832E-2</c:v>
                </c:pt>
                <c:pt idx="5175">
                  <c:v>6.2778049035103589E-2</c:v>
                </c:pt>
                <c:pt idx="5176">
                  <c:v>7.372196157456716E-2</c:v>
                </c:pt>
                <c:pt idx="5177">
                  <c:v>8.2213356462245826E-2</c:v>
                </c:pt>
                <c:pt idx="5178">
                  <c:v>8.9415445718308603E-2</c:v>
                </c:pt>
                <c:pt idx="5179">
                  <c:v>9.534187751342893E-2</c:v>
                </c:pt>
                <c:pt idx="5180">
                  <c:v>0.1007131072152806</c:v>
                </c:pt>
                <c:pt idx="5181">
                  <c:v>0.10498886909992612</c:v>
                </c:pt>
                <c:pt idx="5182">
                  <c:v>0.10879758301077734</c:v>
                </c:pt>
                <c:pt idx="5183">
                  <c:v>0.11260900484033735</c:v>
                </c:pt>
                <c:pt idx="5184">
                  <c:v>0.11493506879357672</c:v>
                </c:pt>
                <c:pt idx="5185">
                  <c:v>0.11720296779870866</c:v>
                </c:pt>
                <c:pt idx="5186">
                  <c:v>0.11843795115258006</c:v>
                </c:pt>
                <c:pt idx="5187">
                  <c:v>0.11933741118604614</c:v>
                </c:pt>
                <c:pt idx="5188">
                  <c:v>0.12041177692443288</c:v>
                </c:pt>
                <c:pt idx="5189">
                  <c:v>0.12055354341966333</c:v>
                </c:pt>
                <c:pt idx="5190">
                  <c:v>0.12050687214441401</c:v>
                </c:pt>
                <c:pt idx="5191">
                  <c:v>0.12203288197421801</c:v>
                </c:pt>
                <c:pt idx="5192">
                  <c:v>0.12413551090642959</c:v>
                </c:pt>
                <c:pt idx="5193">
                  <c:v>0.12445642263878683</c:v>
                </c:pt>
                <c:pt idx="5194">
                  <c:v>0.12434349469693702</c:v>
                </c:pt>
                <c:pt idx="5195">
                  <c:v>0.12227201159391109</c:v>
                </c:pt>
                <c:pt idx="5196">
                  <c:v>0.1190788734072394</c:v>
                </c:pt>
                <c:pt idx="5197">
                  <c:v>0.11539801324778858</c:v>
                </c:pt>
                <c:pt idx="5198">
                  <c:v>0.10957773629027288</c:v>
                </c:pt>
                <c:pt idx="5199">
                  <c:v>0.10285053153986616</c:v>
                </c:pt>
                <c:pt idx="5200">
                  <c:v>9.3844543911113257E-2</c:v>
                </c:pt>
                <c:pt idx="5201">
                  <c:v>8.3856895851922145E-2</c:v>
                </c:pt>
                <c:pt idx="5202">
                  <c:v>7.3318089143258686E-2</c:v>
                </c:pt>
                <c:pt idx="5203">
                  <c:v>6.7738337992713865E-2</c:v>
                </c:pt>
                <c:pt idx="5204">
                  <c:v>6.6292560949971074E-2</c:v>
                </c:pt>
                <c:pt idx="5205">
                  <c:v>6.6909004646946754E-2</c:v>
                </c:pt>
                <c:pt idx="5206">
                  <c:v>6.8441620991771618E-2</c:v>
                </c:pt>
                <c:pt idx="5207">
                  <c:v>7.1973340720830711E-2</c:v>
                </c:pt>
                <c:pt idx="5208">
                  <c:v>7.5280613593068493E-2</c:v>
                </c:pt>
                <c:pt idx="5209">
                  <c:v>7.7215107763953253E-2</c:v>
                </c:pt>
                <c:pt idx="5210">
                  <c:v>7.8632919137494053E-2</c:v>
                </c:pt>
                <c:pt idx="5211">
                  <c:v>7.8953474813385813E-2</c:v>
                </c:pt>
                <c:pt idx="5212">
                  <c:v>7.9661543568697799E-2</c:v>
                </c:pt>
                <c:pt idx="5213">
                  <c:v>7.9641535125684323E-2</c:v>
                </c:pt>
                <c:pt idx="5214">
                  <c:v>7.841273827037766E-2</c:v>
                </c:pt>
                <c:pt idx="5215">
                  <c:v>7.718222145462994E-2</c:v>
                </c:pt>
                <c:pt idx="5216">
                  <c:v>7.5254257703934957E-2</c:v>
                </c:pt>
                <c:pt idx="5217">
                  <c:v>7.421157573524928E-2</c:v>
                </c:pt>
                <c:pt idx="5218">
                  <c:v>7.365356185152433E-2</c:v>
                </c:pt>
                <c:pt idx="5219">
                  <c:v>7.097849243229E-2</c:v>
                </c:pt>
                <c:pt idx="5220">
                  <c:v>6.8576093944497749E-2</c:v>
                </c:pt>
                <c:pt idx="5221">
                  <c:v>7.1080378797388266E-2</c:v>
                </c:pt>
                <c:pt idx="5222">
                  <c:v>7.3947777994175415E-2</c:v>
                </c:pt>
                <c:pt idx="5223">
                  <c:v>7.6940961012046449E-2</c:v>
                </c:pt>
                <c:pt idx="5224">
                  <c:v>7.8832081480105953E-2</c:v>
                </c:pt>
                <c:pt idx="5225">
                  <c:v>8.0144603959911034E-2</c:v>
                </c:pt>
                <c:pt idx="5226">
                  <c:v>8.0204983401294699E-2</c:v>
                </c:pt>
                <c:pt idx="5227">
                  <c:v>8.0754909589641904E-2</c:v>
                </c:pt>
                <c:pt idx="5228">
                  <c:v>7.943236242269533E-2</c:v>
                </c:pt>
                <c:pt idx="5229">
                  <c:v>7.8531162701397136E-2</c:v>
                </c:pt>
                <c:pt idx="5230">
                  <c:v>7.699238392371402E-2</c:v>
                </c:pt>
                <c:pt idx="5231">
                  <c:v>7.5543435435981784E-2</c:v>
                </c:pt>
                <c:pt idx="5232">
                  <c:v>7.4139937150252827E-2</c:v>
                </c:pt>
                <c:pt idx="5233">
                  <c:v>7.1938972766233233E-2</c:v>
                </c:pt>
                <c:pt idx="5234">
                  <c:v>6.834077400606417E-2</c:v>
                </c:pt>
                <c:pt idx="5235">
                  <c:v>6.3346870992914722E-2</c:v>
                </c:pt>
                <c:pt idx="5236">
                  <c:v>5.3730543455889235E-2</c:v>
                </c:pt>
                <c:pt idx="5237">
                  <c:v>5.3339694187123407E-2</c:v>
                </c:pt>
                <c:pt idx="5238">
                  <c:v>5.3078614203404942E-2</c:v>
                </c:pt>
                <c:pt idx="5239">
                  <c:v>5.2732441978639244E-2</c:v>
                </c:pt>
                <c:pt idx="5240">
                  <c:v>5.2328749405487693E-2</c:v>
                </c:pt>
                <c:pt idx="5241">
                  <c:v>5.242425315626402E-2</c:v>
                </c:pt>
                <c:pt idx="5242">
                  <c:v>5.245549204544947E-2</c:v>
                </c:pt>
                <c:pt idx="5243">
                  <c:v>5.2035746107764944E-2</c:v>
                </c:pt>
                <c:pt idx="5244">
                  <c:v>5.1308759588790595E-2</c:v>
                </c:pt>
                <c:pt idx="5245">
                  <c:v>5.5142221539467601E-2</c:v>
                </c:pt>
                <c:pt idx="5246">
                  <c:v>5.5799816649309206E-2</c:v>
                </c:pt>
                <c:pt idx="5247">
                  <c:v>7.1297444299028748E-2</c:v>
                </c:pt>
                <c:pt idx="5248">
                  <c:v>7.6125767291298774E-2</c:v>
                </c:pt>
                <c:pt idx="5249">
                  <c:v>7.778362086690252E-2</c:v>
                </c:pt>
                <c:pt idx="5250">
                  <c:v>8.7923337987416111E-2</c:v>
                </c:pt>
                <c:pt idx="5251">
                  <c:v>0.10672858086953309</c:v>
                </c:pt>
                <c:pt idx="5252">
                  <c:v>0.12459002552250857</c:v>
                </c:pt>
                <c:pt idx="5253">
                  <c:v>0.14237369054548654</c:v>
                </c:pt>
                <c:pt idx="5254">
                  <c:v>0.15660541463905914</c:v>
                </c:pt>
                <c:pt idx="5255">
                  <c:v>0.16826237715073933</c:v>
                </c:pt>
                <c:pt idx="5256">
                  <c:v>0.1771386477882852</c:v>
                </c:pt>
                <c:pt idx="5257">
                  <c:v>0.18419332369916666</c:v>
                </c:pt>
                <c:pt idx="5258">
                  <c:v>0.18870181786818033</c:v>
                </c:pt>
                <c:pt idx="5259">
                  <c:v>0.19201180484950589</c:v>
                </c:pt>
                <c:pt idx="5260">
                  <c:v>0.19466976258023644</c:v>
                </c:pt>
                <c:pt idx="5261">
                  <c:v>0.19600067279163252</c:v>
                </c:pt>
                <c:pt idx="5262">
                  <c:v>0.19665869256246515</c:v>
                </c:pt>
                <c:pt idx="5263">
                  <c:v>0.19556942177107947</c:v>
                </c:pt>
                <c:pt idx="5264">
                  <c:v>0.19368049654942862</c:v>
                </c:pt>
                <c:pt idx="5265">
                  <c:v>0.19048779281644107</c:v>
                </c:pt>
                <c:pt idx="5266">
                  <c:v>0.18579837038349098</c:v>
                </c:pt>
                <c:pt idx="5267">
                  <c:v>0.18026124847875022</c:v>
                </c:pt>
                <c:pt idx="5268">
                  <c:v>0.17332219199749965</c:v>
                </c:pt>
                <c:pt idx="5269">
                  <c:v>0.16550071306356684</c:v>
                </c:pt>
                <c:pt idx="5270">
                  <c:v>0.15736642562750966</c:v>
                </c:pt>
                <c:pt idx="5271">
                  <c:v>0.14809332654367549</c:v>
                </c:pt>
                <c:pt idx="5272">
                  <c:v>0.1373020654744479</c:v>
                </c:pt>
                <c:pt idx="5273">
                  <c:v>0.12566456958467973</c:v>
                </c:pt>
                <c:pt idx="5274">
                  <c:v>0.11139686333125849</c:v>
                </c:pt>
                <c:pt idx="5275">
                  <c:v>9.8127015562893979E-2</c:v>
                </c:pt>
                <c:pt idx="5276">
                  <c:v>8.1237179421780076E-2</c:v>
                </c:pt>
                <c:pt idx="5277">
                  <c:v>7.0024370616930343E-2</c:v>
                </c:pt>
                <c:pt idx="5278">
                  <c:v>5.3212909414803319E-2</c:v>
                </c:pt>
                <c:pt idx="5279">
                  <c:v>2.1653828042821038E-2</c:v>
                </c:pt>
                <c:pt idx="5280">
                  <c:v>-7.0743333286132394E-4</c:v>
                </c:pt>
                <c:pt idx="5281">
                  <c:v>-1.3970389165354239E-2</c:v>
                </c:pt>
                <c:pt idx="5282">
                  <c:v>-2.344826461721139E-2</c:v>
                </c:pt>
                <c:pt idx="5283">
                  <c:v>-2.6619972572349333E-2</c:v>
                </c:pt>
                <c:pt idx="5284">
                  <c:v>-2.8158077732885346E-2</c:v>
                </c:pt>
                <c:pt idx="5285">
                  <c:v>-2.9746154648907897E-2</c:v>
                </c:pt>
                <c:pt idx="5286">
                  <c:v>-3.0813619914010291E-2</c:v>
                </c:pt>
                <c:pt idx="5287">
                  <c:v>-3.1970719369473662E-2</c:v>
                </c:pt>
                <c:pt idx="5288">
                  <c:v>-3.3615965169809615E-2</c:v>
                </c:pt>
                <c:pt idx="5289">
                  <c:v>-3.5723650370050333E-2</c:v>
                </c:pt>
                <c:pt idx="5290">
                  <c:v>-3.8190082075730478E-2</c:v>
                </c:pt>
                <c:pt idx="5291">
                  <c:v>-4.0929833082238104E-2</c:v>
                </c:pt>
                <c:pt idx="5292">
                  <c:v>-4.2443767922953443E-2</c:v>
                </c:pt>
                <c:pt idx="5293">
                  <c:v>-4.4547092184463309E-2</c:v>
                </c:pt>
                <c:pt idx="5294">
                  <c:v>-4.6107515079045848E-2</c:v>
                </c:pt>
                <c:pt idx="5295">
                  <c:v>-4.7370269272945791E-2</c:v>
                </c:pt>
                <c:pt idx="5296">
                  <c:v>-4.8695961480684585E-2</c:v>
                </c:pt>
                <c:pt idx="5297">
                  <c:v>-4.9521927259681742E-2</c:v>
                </c:pt>
                <c:pt idx="5298">
                  <c:v>-5.0083367598229636E-2</c:v>
                </c:pt>
                <c:pt idx="5299">
                  <c:v>-5.0467737186880787E-2</c:v>
                </c:pt>
                <c:pt idx="5300">
                  <c:v>-5.0547311997323874E-2</c:v>
                </c:pt>
                <c:pt idx="5301">
                  <c:v>-5.0242740438229003E-2</c:v>
                </c:pt>
                <c:pt idx="5302">
                  <c:v>-5.0130212499269931E-2</c:v>
                </c:pt>
                <c:pt idx="5303">
                  <c:v>-4.8660475713137134E-2</c:v>
                </c:pt>
                <c:pt idx="5304">
                  <c:v>-4.6613055970915501E-2</c:v>
                </c:pt>
                <c:pt idx="5305">
                  <c:v>-4.4178649124404813E-2</c:v>
                </c:pt>
                <c:pt idx="5306">
                  <c:v>-3.9397176528133411E-2</c:v>
                </c:pt>
                <c:pt idx="5307">
                  <c:v>-3.5509008406401213E-2</c:v>
                </c:pt>
                <c:pt idx="5308">
                  <c:v>-3.2015203983434146E-2</c:v>
                </c:pt>
                <c:pt idx="5309">
                  <c:v>-2.8586958735961121E-2</c:v>
                </c:pt>
                <c:pt idx="5310">
                  <c:v>-2.4682959310592931E-2</c:v>
                </c:pt>
                <c:pt idx="5311">
                  <c:v>-1.666699077331292E-2</c:v>
                </c:pt>
                <c:pt idx="5312">
                  <c:v>-1.0454090500607057E-2</c:v>
                </c:pt>
                <c:pt idx="5313">
                  <c:v>-6.0210787583045095E-3</c:v>
                </c:pt>
                <c:pt idx="5314">
                  <c:v>-1.3879471098761607E-3</c:v>
                </c:pt>
                <c:pt idx="5315">
                  <c:v>2.7090882122796107E-3</c:v>
                </c:pt>
                <c:pt idx="5316">
                  <c:v>7.3651644527331517E-3</c:v>
                </c:pt>
                <c:pt idx="5317">
                  <c:v>1.1823423532041912E-2</c:v>
                </c:pt>
                <c:pt idx="5318">
                  <c:v>1.472908894161796E-2</c:v>
                </c:pt>
                <c:pt idx="5319">
                  <c:v>1.7523225323594689E-2</c:v>
                </c:pt>
                <c:pt idx="5320">
                  <c:v>1.9108914548365052E-2</c:v>
                </c:pt>
                <c:pt idx="5321">
                  <c:v>1.9397554452824851E-2</c:v>
                </c:pt>
                <c:pt idx="5322">
                  <c:v>2.0532186481101111E-2</c:v>
                </c:pt>
                <c:pt idx="5323">
                  <c:v>2.068533598609841E-2</c:v>
                </c:pt>
                <c:pt idx="5324">
                  <c:v>2.0956503027705277E-2</c:v>
                </c:pt>
                <c:pt idx="5325">
                  <c:v>2.1017076399034142E-2</c:v>
                </c:pt>
                <c:pt idx="5326">
                  <c:v>2.118630170789447E-2</c:v>
                </c:pt>
                <c:pt idx="5327">
                  <c:v>2.1619680941935365E-2</c:v>
                </c:pt>
                <c:pt idx="5328">
                  <c:v>2.1339675344559418E-2</c:v>
                </c:pt>
                <c:pt idx="5329">
                  <c:v>2.1335510899085093E-2</c:v>
                </c:pt>
                <c:pt idx="5330">
                  <c:v>2.0723965620277812E-2</c:v>
                </c:pt>
                <c:pt idx="5331">
                  <c:v>2.0797527524950579E-2</c:v>
                </c:pt>
                <c:pt idx="5332">
                  <c:v>2.0303087804921835E-2</c:v>
                </c:pt>
                <c:pt idx="5333">
                  <c:v>1.9514308464452873E-2</c:v>
                </c:pt>
                <c:pt idx="5334">
                  <c:v>1.8431579400656067E-2</c:v>
                </c:pt>
                <c:pt idx="5335">
                  <c:v>1.6437126943612379E-2</c:v>
                </c:pt>
                <c:pt idx="5336">
                  <c:v>1.5394303251300428E-2</c:v>
                </c:pt>
                <c:pt idx="5337">
                  <c:v>1.4090307240076766E-2</c:v>
                </c:pt>
                <c:pt idx="5338">
                  <c:v>1.2497452403619496E-2</c:v>
                </c:pt>
                <c:pt idx="5339">
                  <c:v>1.0977133169924934E-2</c:v>
                </c:pt>
                <c:pt idx="5340">
                  <c:v>9.6979443659194944E-3</c:v>
                </c:pt>
                <c:pt idx="5341">
                  <c:v>1.0477553270228394E-2</c:v>
                </c:pt>
                <c:pt idx="5342">
                  <c:v>1.1440482691193942E-2</c:v>
                </c:pt>
                <c:pt idx="5343">
                  <c:v>1.2170473127875109E-2</c:v>
                </c:pt>
                <c:pt idx="5344">
                  <c:v>1.3098246550276913E-2</c:v>
                </c:pt>
                <c:pt idx="5345">
                  <c:v>1.4042922532201829E-2</c:v>
                </c:pt>
                <c:pt idx="5346">
                  <c:v>1.5156237231119524E-2</c:v>
                </c:pt>
                <c:pt idx="5347">
                  <c:v>1.6196723034031156E-2</c:v>
                </c:pt>
                <c:pt idx="5348">
                  <c:v>1.6765912102384269E-2</c:v>
                </c:pt>
                <c:pt idx="5349">
                  <c:v>1.738726728745453E-2</c:v>
                </c:pt>
                <c:pt idx="5350">
                  <c:v>1.8265179562893114E-2</c:v>
                </c:pt>
                <c:pt idx="5351">
                  <c:v>1.8393042163003012E-2</c:v>
                </c:pt>
                <c:pt idx="5352">
                  <c:v>1.927709131245009E-2</c:v>
                </c:pt>
                <c:pt idx="5353">
                  <c:v>2.0001862677221191E-2</c:v>
                </c:pt>
                <c:pt idx="5354">
                  <c:v>2.1081682919053761E-2</c:v>
                </c:pt>
                <c:pt idx="5355">
                  <c:v>2.1302186961154337E-2</c:v>
                </c:pt>
                <c:pt idx="5356">
                  <c:v>2.1500998481814859E-2</c:v>
                </c:pt>
                <c:pt idx="5357">
                  <c:v>2.1456027959011949E-2</c:v>
                </c:pt>
                <c:pt idx="5358">
                  <c:v>2.1374355198115022E-2</c:v>
                </c:pt>
                <c:pt idx="5359">
                  <c:v>2.1547808140189681E-2</c:v>
                </c:pt>
                <c:pt idx="5360">
                  <c:v>2.1214337671534564E-2</c:v>
                </c:pt>
                <c:pt idx="5361">
                  <c:v>2.1715386689018838E-2</c:v>
                </c:pt>
                <c:pt idx="5362">
                  <c:v>2.157091638395859E-2</c:v>
                </c:pt>
                <c:pt idx="5363">
                  <c:v>2.1792061012176039E-2</c:v>
                </c:pt>
                <c:pt idx="5364">
                  <c:v>2.1686346381547844E-2</c:v>
                </c:pt>
                <c:pt idx="5365">
                  <c:v>2.0992848542385693E-2</c:v>
                </c:pt>
                <c:pt idx="5366">
                  <c:v>2.0845062834908279E-2</c:v>
                </c:pt>
                <c:pt idx="5367">
                  <c:v>2.0914408088298718E-2</c:v>
                </c:pt>
                <c:pt idx="5368">
                  <c:v>2.1007570276434448E-2</c:v>
                </c:pt>
                <c:pt idx="5369">
                  <c:v>2.0637865576061204E-2</c:v>
                </c:pt>
                <c:pt idx="5370">
                  <c:v>1.9728448551423861E-2</c:v>
                </c:pt>
                <c:pt idx="5371">
                  <c:v>2.0801854360521552E-2</c:v>
                </c:pt>
                <c:pt idx="5372">
                  <c:v>2.498323706271241E-2</c:v>
                </c:pt>
                <c:pt idx="5373">
                  <c:v>3.3368184628188663E-2</c:v>
                </c:pt>
                <c:pt idx="5374">
                  <c:v>4.1411517550809643E-2</c:v>
                </c:pt>
                <c:pt idx="5375">
                  <c:v>5.1207101822225529E-2</c:v>
                </c:pt>
                <c:pt idx="5376">
                  <c:v>6.2351387534321526E-2</c:v>
                </c:pt>
                <c:pt idx="5377">
                  <c:v>7.4227133897952283E-2</c:v>
                </c:pt>
                <c:pt idx="5378">
                  <c:v>8.6371119994636411E-2</c:v>
                </c:pt>
                <c:pt idx="5379">
                  <c:v>9.8917970241186648E-2</c:v>
                </c:pt>
                <c:pt idx="5380">
                  <c:v>0.11180008577244158</c:v>
                </c:pt>
                <c:pt idx="5381">
                  <c:v>0.12593005463142753</c:v>
                </c:pt>
                <c:pt idx="5382">
                  <c:v>0.13941651061251462</c:v>
                </c:pt>
                <c:pt idx="5383">
                  <c:v>0.15281748763804651</c:v>
                </c:pt>
                <c:pt idx="5384">
                  <c:v>0.2000091018280038</c:v>
                </c:pt>
                <c:pt idx="5385">
                  <c:v>0.25075230731266335</c:v>
                </c:pt>
                <c:pt idx="5386">
                  <c:v>0.27139761963861603</c:v>
                </c:pt>
                <c:pt idx="5387">
                  <c:v>0.32308018052886994</c:v>
                </c:pt>
                <c:pt idx="5388">
                  <c:v>0.33111550082559771</c:v>
                </c:pt>
                <c:pt idx="5389">
                  <c:v>0.34648600577531891</c:v>
                </c:pt>
                <c:pt idx="5390">
                  <c:v>0.36906367713436861</c:v>
                </c:pt>
                <c:pt idx="5391">
                  <c:v>0.37491354616473255</c:v>
                </c:pt>
                <c:pt idx="5392">
                  <c:v>0.40493057716591974</c:v>
                </c:pt>
                <c:pt idx="5393">
                  <c:v>0.40696249181690519</c:v>
                </c:pt>
                <c:pt idx="5394">
                  <c:v>0.41472293052459702</c:v>
                </c:pt>
                <c:pt idx="5395">
                  <c:v>0.41986664630634546</c:v>
                </c:pt>
                <c:pt idx="5396">
                  <c:v>0.43026640388564141</c:v>
                </c:pt>
                <c:pt idx="5397">
                  <c:v>0.4329036964038579</c:v>
                </c:pt>
                <c:pt idx="5398">
                  <c:v>0.44396866038014843</c:v>
                </c:pt>
                <c:pt idx="5399">
                  <c:v>0.4370229364134775</c:v>
                </c:pt>
                <c:pt idx="5400">
                  <c:v>0.43250445571599971</c:v>
                </c:pt>
                <c:pt idx="5401">
                  <c:v>0.43336658954988333</c:v>
                </c:pt>
                <c:pt idx="5402">
                  <c:v>0.44878497293732988</c:v>
                </c:pt>
                <c:pt idx="5403">
                  <c:v>0.45587299644054136</c:v>
                </c:pt>
                <c:pt idx="5404">
                  <c:v>0.44817245828035018</c:v>
                </c:pt>
                <c:pt idx="5405">
                  <c:v>0.43992781407741183</c:v>
                </c:pt>
                <c:pt idx="5406">
                  <c:v>0.43737885504684837</c:v>
                </c:pt>
                <c:pt idx="5407">
                  <c:v>0.44069612855453488</c:v>
                </c:pt>
                <c:pt idx="5408">
                  <c:v>0.44211120584284652</c:v>
                </c:pt>
                <c:pt idx="5409">
                  <c:v>0.46035267157682908</c:v>
                </c:pt>
                <c:pt idx="5410">
                  <c:v>0.4549330338293342</c:v>
                </c:pt>
                <c:pt idx="5411">
                  <c:v>0.45086900676859837</c:v>
                </c:pt>
                <c:pt idx="5412">
                  <c:v>0.44720884110398407</c:v>
                </c:pt>
                <c:pt idx="5413">
                  <c:v>0.44898680626037002</c:v>
                </c:pt>
                <c:pt idx="5414">
                  <c:v>0.44960417561739902</c:v>
                </c:pt>
                <c:pt idx="5415">
                  <c:v>0.45054742655553026</c:v>
                </c:pt>
                <c:pt idx="5416">
                  <c:v>0.44943490264727903</c:v>
                </c:pt>
                <c:pt idx="5417">
                  <c:v>0.43815406761922093</c:v>
                </c:pt>
                <c:pt idx="5418">
                  <c:v>0.44503469498697906</c:v>
                </c:pt>
                <c:pt idx="5419">
                  <c:v>0.4498095807434816</c:v>
                </c:pt>
                <c:pt idx="5420">
                  <c:v>0.46572048173154779</c:v>
                </c:pt>
                <c:pt idx="5421">
                  <c:v>0.46780525922899951</c:v>
                </c:pt>
                <c:pt idx="5422">
                  <c:v>0.45599202813264744</c:v>
                </c:pt>
                <c:pt idx="5423">
                  <c:v>0.46169380691293571</c:v>
                </c:pt>
                <c:pt idx="5424">
                  <c:v>0.46568782342332599</c:v>
                </c:pt>
                <c:pt idx="5425">
                  <c:v>0.46826214921741166</c:v>
                </c:pt>
                <c:pt idx="5426">
                  <c:v>0.4849151841350382</c:v>
                </c:pt>
                <c:pt idx="5427">
                  <c:v>0.48323610584115922</c:v>
                </c:pt>
                <c:pt idx="5428">
                  <c:v>0.47489964586996147</c:v>
                </c:pt>
                <c:pt idx="5429">
                  <c:v>0.48093184389457461</c:v>
                </c:pt>
                <c:pt idx="5430">
                  <c:v>0.49040556353455722</c:v>
                </c:pt>
                <c:pt idx="5431">
                  <c:v>0.4954617433185099</c:v>
                </c:pt>
                <c:pt idx="5432">
                  <c:v>0.47731053823262282</c:v>
                </c:pt>
                <c:pt idx="5433">
                  <c:v>0.49065307700907068</c:v>
                </c:pt>
                <c:pt idx="5434">
                  <c:v>0.48833835684820937</c:v>
                </c:pt>
                <c:pt idx="5435">
                  <c:v>0.49020416378233334</c:v>
                </c:pt>
                <c:pt idx="5436">
                  <c:v>0.49237226989474914</c:v>
                </c:pt>
                <c:pt idx="5437">
                  <c:v>0.49621075840570517</c:v>
                </c:pt>
                <c:pt idx="5438">
                  <c:v>0.50482570865808063</c:v>
                </c:pt>
                <c:pt idx="5439">
                  <c:v>0.48758678661384491</c:v>
                </c:pt>
                <c:pt idx="5440">
                  <c:v>0.49734778367729349</c:v>
                </c:pt>
                <c:pt idx="5441">
                  <c:v>0.50172465253197307</c:v>
                </c:pt>
                <c:pt idx="5442">
                  <c:v>0.52829355738277262</c:v>
                </c:pt>
                <c:pt idx="5443">
                  <c:v>0.54985741646123498</c:v>
                </c:pt>
                <c:pt idx="5444">
                  <c:v>0.5467708449472638</c:v>
                </c:pt>
                <c:pt idx="5445">
                  <c:v>0.53913798207770547</c:v>
                </c:pt>
                <c:pt idx="5446">
                  <c:v>0.53985886859104903</c:v>
                </c:pt>
                <c:pt idx="5447">
                  <c:v>0.54244364694671232</c:v>
                </c:pt>
                <c:pt idx="5448">
                  <c:v>0.54682179877769499</c:v>
                </c:pt>
                <c:pt idx="5449">
                  <c:v>0.55418605454261827</c:v>
                </c:pt>
                <c:pt idx="5450">
                  <c:v>0.5444442699601425</c:v>
                </c:pt>
                <c:pt idx="5451">
                  <c:v>0.55536172445575394</c:v>
                </c:pt>
                <c:pt idx="5452">
                  <c:v>0.57596267455136052</c:v>
                </c:pt>
                <c:pt idx="5453">
                  <c:v>0.63048967556765889</c:v>
                </c:pt>
                <c:pt idx="5454">
                  <c:v>0.65919405146473464</c:v>
                </c:pt>
                <c:pt idx="5455">
                  <c:v>0.68105534981031701</c:v>
                </c:pt>
                <c:pt idx="5456">
                  <c:v>0.67508114742743908</c:v>
                </c:pt>
                <c:pt idx="5457">
                  <c:v>0.69251118890194363</c:v>
                </c:pt>
                <c:pt idx="5458">
                  <c:v>0.71015695313375937</c:v>
                </c:pt>
                <c:pt idx="5459">
                  <c:v>0.7237465642442662</c:v>
                </c:pt>
                <c:pt idx="5460">
                  <c:v>0.73426208614042154</c:v>
                </c:pt>
                <c:pt idx="5461">
                  <c:v>0.74159708951421943</c:v>
                </c:pt>
                <c:pt idx="5462">
                  <c:v>0.74687790850304814</c:v>
                </c:pt>
                <c:pt idx="5463">
                  <c:v>0.69963036843903048</c:v>
                </c:pt>
                <c:pt idx="5464">
                  <c:v>0.68995016937351838</c:v>
                </c:pt>
                <c:pt idx="5465">
                  <c:v>0.68549330688465471</c:v>
                </c:pt>
                <c:pt idx="5466">
                  <c:v>0.68120951176852695</c:v>
                </c:pt>
                <c:pt idx="5467">
                  <c:v>0.67583507005011279</c:v>
                </c:pt>
                <c:pt idx="5468">
                  <c:v>0.66931759433897919</c:v>
                </c:pt>
                <c:pt idx="5469">
                  <c:v>0.66150955949451351</c:v>
                </c:pt>
                <c:pt idx="5470">
                  <c:v>0.65126829781406215</c:v>
                </c:pt>
                <c:pt idx="5471">
                  <c:v>0.62863979592128039</c:v>
                </c:pt>
                <c:pt idx="5472">
                  <c:v>0.55230758048306039</c:v>
                </c:pt>
                <c:pt idx="5473">
                  <c:v>0.43237482516535353</c:v>
                </c:pt>
                <c:pt idx="5474">
                  <c:v>0.38097726921292296</c:v>
                </c:pt>
                <c:pt idx="5475">
                  <c:v>0.31407288399931588</c:v>
                </c:pt>
                <c:pt idx="5476">
                  <c:v>0.32389340116808918</c:v>
                </c:pt>
                <c:pt idx="5477">
                  <c:v>0.33457462426455392</c:v>
                </c:pt>
                <c:pt idx="5478">
                  <c:v>0.33950198299831474</c:v>
                </c:pt>
                <c:pt idx="5479">
                  <c:v>0.33639464609551661</c:v>
                </c:pt>
                <c:pt idx="5480">
                  <c:v>0.32326590494846041</c:v>
                </c:pt>
                <c:pt idx="5481">
                  <c:v>0.29497738104019838</c:v>
                </c:pt>
                <c:pt idx="5482">
                  <c:v>0.26978301734531768</c:v>
                </c:pt>
                <c:pt idx="5483">
                  <c:v>0.27467638469831229</c:v>
                </c:pt>
                <c:pt idx="5484">
                  <c:v>0.27758551064865655</c:v>
                </c:pt>
                <c:pt idx="5485">
                  <c:v>0.27397535210835089</c:v>
                </c:pt>
                <c:pt idx="5486">
                  <c:v>0.27764454359185503</c:v>
                </c:pt>
                <c:pt idx="5487">
                  <c:v>0.30850705155393893</c:v>
                </c:pt>
                <c:pt idx="5488">
                  <c:v>0.3237061010813283</c:v>
                </c:pt>
                <c:pt idx="5489">
                  <c:v>0.33199155715914569</c:v>
                </c:pt>
                <c:pt idx="5490">
                  <c:v>0.33960437191828013</c:v>
                </c:pt>
                <c:pt idx="5491">
                  <c:v>0.34389057766065134</c:v>
                </c:pt>
                <c:pt idx="5492">
                  <c:v>0.34476375657953801</c:v>
                </c:pt>
                <c:pt idx="5493">
                  <c:v>0.34178396587961563</c:v>
                </c:pt>
                <c:pt idx="5494">
                  <c:v>0.33608796721422712</c:v>
                </c:pt>
                <c:pt idx="5495">
                  <c:v>0.32872783705775294</c:v>
                </c:pt>
                <c:pt idx="5496">
                  <c:v>0.3194860424749823</c:v>
                </c:pt>
                <c:pt idx="5497">
                  <c:v>0.30903116843798045</c:v>
                </c:pt>
                <c:pt idx="5498">
                  <c:v>0.29559411604298641</c:v>
                </c:pt>
                <c:pt idx="5499">
                  <c:v>0.28015716166098759</c:v>
                </c:pt>
                <c:pt idx="5500">
                  <c:v>0.26021626443392404</c:v>
                </c:pt>
                <c:pt idx="5501">
                  <c:v>0.2364341648237078</c:v>
                </c:pt>
                <c:pt idx="5502">
                  <c:v>0.20642739652014383</c:v>
                </c:pt>
                <c:pt idx="5503">
                  <c:v>0.16526648408902192</c:v>
                </c:pt>
                <c:pt idx="5504">
                  <c:v>9.3896349779771376E-2</c:v>
                </c:pt>
                <c:pt idx="5505">
                  <c:v>3.2101171316687695E-2</c:v>
                </c:pt>
                <c:pt idx="5506">
                  <c:v>3.4000647716793481E-2</c:v>
                </c:pt>
                <c:pt idx="5507">
                  <c:v>3.6337984038820138E-2</c:v>
                </c:pt>
                <c:pt idx="5508">
                  <c:v>3.8958805170985308E-2</c:v>
                </c:pt>
                <c:pt idx="5509">
                  <c:v>4.0036773321588143E-2</c:v>
                </c:pt>
                <c:pt idx="5510">
                  <c:v>4.0614657871351212E-2</c:v>
                </c:pt>
                <c:pt idx="5511">
                  <c:v>4.2200913888129757E-2</c:v>
                </c:pt>
                <c:pt idx="5512">
                  <c:v>4.2843735399651674E-2</c:v>
                </c:pt>
                <c:pt idx="5513">
                  <c:v>4.3060490882185408E-2</c:v>
                </c:pt>
                <c:pt idx="5514">
                  <c:v>4.3241590603500447E-2</c:v>
                </c:pt>
                <c:pt idx="5515">
                  <c:v>4.2658422830687021E-2</c:v>
                </c:pt>
                <c:pt idx="5516">
                  <c:v>4.2694553052891306E-2</c:v>
                </c:pt>
                <c:pt idx="5517">
                  <c:v>3.58260267396424E-2</c:v>
                </c:pt>
                <c:pt idx="5518">
                  <c:v>2.8479891093293186E-2</c:v>
                </c:pt>
                <c:pt idx="5519">
                  <c:v>2.2157078382214472E-2</c:v>
                </c:pt>
                <c:pt idx="5520">
                  <c:v>1.2536668144872186E-2</c:v>
                </c:pt>
                <c:pt idx="5521">
                  <c:v>2.0459407338253716E-3</c:v>
                </c:pt>
                <c:pt idx="5522">
                  <c:v>-5.6892644294064508E-3</c:v>
                </c:pt>
                <c:pt idx="5523">
                  <c:v>-1.0212950299525802E-2</c:v>
                </c:pt>
                <c:pt idx="5524">
                  <c:v>-1.2919562377246643E-2</c:v>
                </c:pt>
                <c:pt idx="5525">
                  <c:v>-1.8988337789155013E-2</c:v>
                </c:pt>
                <c:pt idx="5526">
                  <c:v>-1.9456503369774718E-2</c:v>
                </c:pt>
                <c:pt idx="5527">
                  <c:v>-1.979103850990898E-2</c:v>
                </c:pt>
                <c:pt idx="5528">
                  <c:v>-1.97895973947717E-2</c:v>
                </c:pt>
                <c:pt idx="5529">
                  <c:v>-1.9820622564884535E-2</c:v>
                </c:pt>
                <c:pt idx="5530">
                  <c:v>-1.9600238555474391E-2</c:v>
                </c:pt>
                <c:pt idx="5531">
                  <c:v>-1.9325423399413857E-2</c:v>
                </c:pt>
                <c:pt idx="5532">
                  <c:v>-1.907260980006395E-2</c:v>
                </c:pt>
                <c:pt idx="5533">
                  <c:v>-1.9475114789041209E-2</c:v>
                </c:pt>
                <c:pt idx="5534">
                  <c:v>-1.9649187527571457E-2</c:v>
                </c:pt>
                <c:pt idx="5535">
                  <c:v>-1.9576237626321328E-2</c:v>
                </c:pt>
                <c:pt idx="5536">
                  <c:v>-1.9342072944368092E-2</c:v>
                </c:pt>
                <c:pt idx="5537">
                  <c:v>-1.9431227958054686E-2</c:v>
                </c:pt>
                <c:pt idx="5538">
                  <c:v>-1.9640375782798432E-2</c:v>
                </c:pt>
                <c:pt idx="5539">
                  <c:v>-1.97888002858801E-2</c:v>
                </c:pt>
                <c:pt idx="5540">
                  <c:v>-1.9953039594465979E-2</c:v>
                </c:pt>
                <c:pt idx="5541">
                  <c:v>-1.9802017555029309E-2</c:v>
                </c:pt>
                <c:pt idx="5542">
                  <c:v>-1.9279094202109978E-2</c:v>
                </c:pt>
                <c:pt idx="5543">
                  <c:v>-1.8322036361420643E-2</c:v>
                </c:pt>
                <c:pt idx="5544">
                  <c:v>-1.785357200692959E-2</c:v>
                </c:pt>
                <c:pt idx="5545">
                  <c:v>-1.7551946197865417E-2</c:v>
                </c:pt>
                <c:pt idx="5546">
                  <c:v>-1.7878001640284948E-2</c:v>
                </c:pt>
                <c:pt idx="5547">
                  <c:v>-1.8572181594514292E-2</c:v>
                </c:pt>
                <c:pt idx="5548">
                  <c:v>-1.914540378553458E-2</c:v>
                </c:pt>
                <c:pt idx="5549">
                  <c:v>-1.9532270361069887E-2</c:v>
                </c:pt>
                <c:pt idx="5550">
                  <c:v>-1.9827187238301049E-2</c:v>
                </c:pt>
                <c:pt idx="5551">
                  <c:v>-2.0171218020596269E-2</c:v>
                </c:pt>
                <c:pt idx="5552">
                  <c:v>-2.1340731090799633E-2</c:v>
                </c:pt>
                <c:pt idx="5553">
                  <c:v>-2.1786675633312661E-2</c:v>
                </c:pt>
                <c:pt idx="5554">
                  <c:v>-2.1508735353403904E-2</c:v>
                </c:pt>
                <c:pt idx="5555">
                  <c:v>-2.101223119700214E-2</c:v>
                </c:pt>
                <c:pt idx="5556">
                  <c:v>-2.0571240529219936E-2</c:v>
                </c:pt>
                <c:pt idx="5557">
                  <c:v>-2.0189327344579837E-2</c:v>
                </c:pt>
                <c:pt idx="5558">
                  <c:v>-1.9906205156495931E-2</c:v>
                </c:pt>
                <c:pt idx="5559">
                  <c:v>-2.0165308306791356E-2</c:v>
                </c:pt>
                <c:pt idx="5560">
                  <c:v>-2.0729897271157722E-2</c:v>
                </c:pt>
                <c:pt idx="5561">
                  <c:v>-1.990050038117119E-2</c:v>
                </c:pt>
                <c:pt idx="5562">
                  <c:v>-2.0197211263177039E-2</c:v>
                </c:pt>
                <c:pt idx="5563">
                  <c:v>-2.0520964637041963E-2</c:v>
                </c:pt>
                <c:pt idx="5564">
                  <c:v>-2.0658453888921749E-2</c:v>
                </c:pt>
                <c:pt idx="5565">
                  <c:v>-2.0678553930890985E-2</c:v>
                </c:pt>
                <c:pt idx="5566">
                  <c:v>-2.0660220468143465E-2</c:v>
                </c:pt>
                <c:pt idx="5567">
                  <c:v>-2.0552331620738128E-2</c:v>
                </c:pt>
                <c:pt idx="5568">
                  <c:v>-2.0374070062502848E-2</c:v>
                </c:pt>
                <c:pt idx="5569">
                  <c:v>-2.046659161341971E-2</c:v>
                </c:pt>
                <c:pt idx="5570">
                  <c:v>-2.0644765943108372E-2</c:v>
                </c:pt>
                <c:pt idx="5571">
                  <c:v>-2.0706270134399813E-2</c:v>
                </c:pt>
                <c:pt idx="5572">
                  <c:v>-2.0365641252320862E-2</c:v>
                </c:pt>
                <c:pt idx="5573">
                  <c:v>-2.0747171075725605E-2</c:v>
                </c:pt>
                <c:pt idx="5574">
                  <c:v>-2.119347710728707E-2</c:v>
                </c:pt>
                <c:pt idx="5575">
                  <c:v>-2.140317151256959E-2</c:v>
                </c:pt>
                <c:pt idx="5576">
                  <c:v>-2.1589869964337417E-2</c:v>
                </c:pt>
                <c:pt idx="5577">
                  <c:v>-2.1624951432941152E-2</c:v>
                </c:pt>
                <c:pt idx="5578">
                  <c:v>-2.1571436759514812E-2</c:v>
                </c:pt>
                <c:pt idx="5579">
                  <c:v>-2.1538358275256853E-2</c:v>
                </c:pt>
                <c:pt idx="5580">
                  <c:v>-2.1548653749047984E-2</c:v>
                </c:pt>
                <c:pt idx="5581">
                  <c:v>-2.1538887888451354E-2</c:v>
                </c:pt>
                <c:pt idx="5582">
                  <c:v>-2.1611409413735516E-2</c:v>
                </c:pt>
                <c:pt idx="5583">
                  <c:v>-2.1711769645067578E-2</c:v>
                </c:pt>
                <c:pt idx="5584">
                  <c:v>-2.2004784462508302E-2</c:v>
                </c:pt>
                <c:pt idx="5585">
                  <c:v>-2.2420598446103342E-2</c:v>
                </c:pt>
                <c:pt idx="5586">
                  <c:v>-2.2984611726537124E-2</c:v>
                </c:pt>
                <c:pt idx="5587">
                  <c:v>-2.3508860242111622E-2</c:v>
                </c:pt>
                <c:pt idx="5588">
                  <c:v>-2.3883318592885276E-2</c:v>
                </c:pt>
                <c:pt idx="5589">
                  <c:v>-2.3789363357819296E-2</c:v>
                </c:pt>
                <c:pt idx="5590">
                  <c:v>-2.346755524238963E-2</c:v>
                </c:pt>
                <c:pt idx="5591">
                  <c:v>-2.4765860973970506E-2</c:v>
                </c:pt>
                <c:pt idx="5592">
                  <c:v>-2.4325240058353507E-2</c:v>
                </c:pt>
                <c:pt idx="5593">
                  <c:v>-2.3791363998124721E-2</c:v>
                </c:pt>
                <c:pt idx="5594">
                  <c:v>-2.3427350748832215E-2</c:v>
                </c:pt>
                <c:pt idx="5595">
                  <c:v>-2.3231120735981929E-2</c:v>
                </c:pt>
                <c:pt idx="5596">
                  <c:v>-2.318808654564955E-2</c:v>
                </c:pt>
                <c:pt idx="5597">
                  <c:v>-2.3145550911656924E-2</c:v>
                </c:pt>
                <c:pt idx="5598">
                  <c:v>-2.3085198306849346E-2</c:v>
                </c:pt>
                <c:pt idx="5599">
                  <c:v>-2.2835472344769771E-2</c:v>
                </c:pt>
                <c:pt idx="5600">
                  <c:v>-2.2492186918428442E-2</c:v>
                </c:pt>
                <c:pt idx="5601">
                  <c:v>-2.092508998912055E-2</c:v>
                </c:pt>
                <c:pt idx="5602">
                  <c:v>-2.0772489175275174E-2</c:v>
                </c:pt>
                <c:pt idx="5603">
                  <c:v>-2.0109038529998475E-2</c:v>
                </c:pt>
                <c:pt idx="5604">
                  <c:v>-1.8793732408120822E-2</c:v>
                </c:pt>
                <c:pt idx="5605">
                  <c:v>-1.7190925692845235E-2</c:v>
                </c:pt>
                <c:pt idx="5606">
                  <c:v>-1.5497081420794236E-2</c:v>
                </c:pt>
                <c:pt idx="5607">
                  <c:v>-1.3813551984726127E-2</c:v>
                </c:pt>
                <c:pt idx="5608">
                  <c:v>-1.2531422904469651E-2</c:v>
                </c:pt>
                <c:pt idx="5609">
                  <c:v>-1.1589426580440645E-2</c:v>
                </c:pt>
                <c:pt idx="5610">
                  <c:v>-1.2241633148231103E-2</c:v>
                </c:pt>
                <c:pt idx="5611">
                  <c:v>-1.3764127541209975E-2</c:v>
                </c:pt>
                <c:pt idx="5612">
                  <c:v>-1.5122483301237683E-2</c:v>
                </c:pt>
                <c:pt idx="5613">
                  <c:v>-1.6200202587653485E-2</c:v>
                </c:pt>
                <c:pt idx="5614">
                  <c:v>-1.6946587690960451E-2</c:v>
                </c:pt>
                <c:pt idx="5615">
                  <c:v>-1.6814246973079677E-2</c:v>
                </c:pt>
                <c:pt idx="5616">
                  <c:v>-1.7273802639045203E-2</c:v>
                </c:pt>
                <c:pt idx="5617">
                  <c:v>-1.7713369311249595E-2</c:v>
                </c:pt>
                <c:pt idx="5618">
                  <c:v>-1.7546197311792966E-2</c:v>
                </c:pt>
                <c:pt idx="5619">
                  <c:v>-1.7082102017671633E-2</c:v>
                </c:pt>
                <c:pt idx="5620">
                  <c:v>-1.7408355660492855E-2</c:v>
                </c:pt>
                <c:pt idx="5621">
                  <c:v>-1.7781912449169109E-2</c:v>
                </c:pt>
                <c:pt idx="5622">
                  <c:v>-1.7393051467776872E-2</c:v>
                </c:pt>
                <c:pt idx="5623">
                  <c:v>-1.7452659007002991E-2</c:v>
                </c:pt>
                <c:pt idx="5624">
                  <c:v>-1.7833560367712872E-2</c:v>
                </c:pt>
                <c:pt idx="5625">
                  <c:v>-1.8208928773827824E-2</c:v>
                </c:pt>
                <c:pt idx="5626">
                  <c:v>-1.8375241859853363E-2</c:v>
                </c:pt>
                <c:pt idx="5627">
                  <c:v>-1.8486276415673228E-2</c:v>
                </c:pt>
                <c:pt idx="5628">
                  <c:v>-1.8363131178286772E-2</c:v>
                </c:pt>
                <c:pt idx="5629">
                  <c:v>-1.8156688910755038E-2</c:v>
                </c:pt>
                <c:pt idx="5630">
                  <c:v>-1.7782064073308068E-2</c:v>
                </c:pt>
                <c:pt idx="5631">
                  <c:v>-1.8134844246171025E-2</c:v>
                </c:pt>
                <c:pt idx="5632">
                  <c:v>-1.7920578264916227E-2</c:v>
                </c:pt>
                <c:pt idx="5633">
                  <c:v>-1.7062467070641289E-2</c:v>
                </c:pt>
                <c:pt idx="5634">
                  <c:v>-1.6393571267701551E-2</c:v>
                </c:pt>
                <c:pt idx="5635">
                  <c:v>-1.5771394586793167E-2</c:v>
                </c:pt>
                <c:pt idx="5636">
                  <c:v>-1.488080110126134E-2</c:v>
                </c:pt>
                <c:pt idx="5637">
                  <c:v>-1.422745355198907E-2</c:v>
                </c:pt>
                <c:pt idx="5638">
                  <c:v>-1.3511428270101686E-2</c:v>
                </c:pt>
                <c:pt idx="5639">
                  <c:v>-1.3207838428025569E-2</c:v>
                </c:pt>
                <c:pt idx="5640">
                  <c:v>-1.3379349104555313E-2</c:v>
                </c:pt>
                <c:pt idx="5641">
                  <c:v>-1.3360472948431E-2</c:v>
                </c:pt>
                <c:pt idx="5642">
                  <c:v>-1.316007248618521E-2</c:v>
                </c:pt>
                <c:pt idx="5643">
                  <c:v>-1.3115167745126987E-2</c:v>
                </c:pt>
                <c:pt idx="5644">
                  <c:v>-1.3333957696776855E-2</c:v>
                </c:pt>
                <c:pt idx="5645">
                  <c:v>-1.4716807455101812E-2</c:v>
                </c:pt>
                <c:pt idx="5646">
                  <c:v>-1.561399560829662E-2</c:v>
                </c:pt>
                <c:pt idx="5647">
                  <c:v>-1.6355750063639256E-2</c:v>
                </c:pt>
                <c:pt idx="5648">
                  <c:v>-1.7775243145840225E-2</c:v>
                </c:pt>
                <c:pt idx="5649">
                  <c:v>-1.9862529480513313E-2</c:v>
                </c:pt>
                <c:pt idx="5650">
                  <c:v>-2.0364913754949553E-2</c:v>
                </c:pt>
                <c:pt idx="5651">
                  <c:v>-2.0228385183262216E-2</c:v>
                </c:pt>
                <c:pt idx="5652">
                  <c:v>-2.0687942192777514E-2</c:v>
                </c:pt>
                <c:pt idx="5653">
                  <c:v>-2.131116698660887E-2</c:v>
                </c:pt>
                <c:pt idx="5654">
                  <c:v>-2.0535535602602222E-2</c:v>
                </c:pt>
                <c:pt idx="5655">
                  <c:v>-1.9837625796692154E-2</c:v>
                </c:pt>
                <c:pt idx="5656">
                  <c:v>-1.9594007939475903E-2</c:v>
                </c:pt>
                <c:pt idx="5657">
                  <c:v>-1.9675084600715993E-2</c:v>
                </c:pt>
                <c:pt idx="5658">
                  <c:v>-1.9831990240209148E-2</c:v>
                </c:pt>
                <c:pt idx="5659">
                  <c:v>-2.011052757706765E-2</c:v>
                </c:pt>
                <c:pt idx="5660">
                  <c:v>-2.0511294058863472E-2</c:v>
                </c:pt>
                <c:pt idx="5661">
                  <c:v>-2.0943047624302893E-2</c:v>
                </c:pt>
                <c:pt idx="5662">
                  <c:v>-2.1371414646574081E-2</c:v>
                </c:pt>
                <c:pt idx="5663">
                  <c:v>-1.9217463629787369E-2</c:v>
                </c:pt>
                <c:pt idx="5664">
                  <c:v>-1.9426013569500515E-2</c:v>
                </c:pt>
                <c:pt idx="5665">
                  <c:v>-1.9541325666102793E-2</c:v>
                </c:pt>
                <c:pt idx="5666">
                  <c:v>-1.8832191225624267E-2</c:v>
                </c:pt>
                <c:pt idx="5667">
                  <c:v>-1.912466325125986E-2</c:v>
                </c:pt>
                <c:pt idx="5668">
                  <c:v>-1.9394456137691619E-2</c:v>
                </c:pt>
                <c:pt idx="5669">
                  <c:v>-1.9556725174365415E-2</c:v>
                </c:pt>
                <c:pt idx="5670">
                  <c:v>-1.9486175867111058E-2</c:v>
                </c:pt>
                <c:pt idx="5671">
                  <c:v>-1.9285604133100785E-2</c:v>
                </c:pt>
                <c:pt idx="5672">
                  <c:v>-1.885252048722472E-2</c:v>
                </c:pt>
                <c:pt idx="5673">
                  <c:v>-1.876099938656435E-2</c:v>
                </c:pt>
                <c:pt idx="5674">
                  <c:v>-1.8831462353931412E-2</c:v>
                </c:pt>
                <c:pt idx="5675">
                  <c:v>-1.8708009278348498E-2</c:v>
                </c:pt>
                <c:pt idx="5676">
                  <c:v>-1.8160653605783762E-2</c:v>
                </c:pt>
                <c:pt idx="5677">
                  <c:v>-1.7441056450348935E-2</c:v>
                </c:pt>
                <c:pt idx="5678">
                  <c:v>-1.6530241342861102E-2</c:v>
                </c:pt>
                <c:pt idx="5679">
                  <c:v>-1.5573358329695263E-2</c:v>
                </c:pt>
                <c:pt idx="5680">
                  <c:v>-1.4699003139077991E-2</c:v>
                </c:pt>
                <c:pt idx="5681">
                  <c:v>-1.39607695879066E-2</c:v>
                </c:pt>
                <c:pt idx="5682">
                  <c:v>-1.4096991521260659E-2</c:v>
                </c:pt>
                <c:pt idx="5683">
                  <c:v>-1.5102336113370547E-2</c:v>
                </c:pt>
                <c:pt idx="5684">
                  <c:v>-1.5921870738171629E-2</c:v>
                </c:pt>
                <c:pt idx="5685">
                  <c:v>-1.5970969658226853E-2</c:v>
                </c:pt>
                <c:pt idx="5686">
                  <c:v>-1.600898618644863E-2</c:v>
                </c:pt>
                <c:pt idx="5687">
                  <c:v>-1.5992512560110965E-2</c:v>
                </c:pt>
                <c:pt idx="5688">
                  <c:v>-1.5940743058510377E-2</c:v>
                </c:pt>
                <c:pt idx="5689">
                  <c:v>-1.5922397231615138E-2</c:v>
                </c:pt>
                <c:pt idx="5690">
                  <c:v>-1.5824889162022585E-2</c:v>
                </c:pt>
                <c:pt idx="5691">
                  <c:v>-1.5634716081254701E-2</c:v>
                </c:pt>
                <c:pt idx="5692">
                  <c:v>-1.5404052316911858E-2</c:v>
                </c:pt>
                <c:pt idx="5693">
                  <c:v>-1.7061423743614197E-2</c:v>
                </c:pt>
                <c:pt idx="5694">
                  <c:v>-1.6811524534587244E-2</c:v>
                </c:pt>
                <c:pt idx="5695">
                  <c:v>-1.6595667959979944E-2</c:v>
                </c:pt>
                <c:pt idx="5696">
                  <c:v>-1.7761249484649657E-2</c:v>
                </c:pt>
                <c:pt idx="5697">
                  <c:v>-1.7476094951296685E-2</c:v>
                </c:pt>
                <c:pt idx="5698">
                  <c:v>-1.7094686290874787E-2</c:v>
                </c:pt>
                <c:pt idx="5699">
                  <c:v>-1.6660188947246975E-2</c:v>
                </c:pt>
                <c:pt idx="5700">
                  <c:v>-1.6458086219567396E-2</c:v>
                </c:pt>
                <c:pt idx="5701">
                  <c:v>-1.7020284172400844E-2</c:v>
                </c:pt>
                <c:pt idx="5702">
                  <c:v>-1.7813298252118706E-2</c:v>
                </c:pt>
                <c:pt idx="5703">
                  <c:v>-1.850819578078329E-2</c:v>
                </c:pt>
                <c:pt idx="5704">
                  <c:v>-1.9283535041607264E-2</c:v>
                </c:pt>
                <c:pt idx="5705">
                  <c:v>-1.9967843591479687E-2</c:v>
                </c:pt>
                <c:pt idx="5706">
                  <c:v>-2.0797118629352372E-2</c:v>
                </c:pt>
                <c:pt idx="5707">
                  <c:v>-1.3966301318533282E-2</c:v>
                </c:pt>
                <c:pt idx="5708">
                  <c:v>-1.1047439619346771E-2</c:v>
                </c:pt>
                <c:pt idx="5709">
                  <c:v>-1.0068956644204723E-2</c:v>
                </c:pt>
                <c:pt idx="5710">
                  <c:v>-1.0590102035334389E-2</c:v>
                </c:pt>
                <c:pt idx="5711">
                  <c:v>-1.1129044677909372E-2</c:v>
                </c:pt>
                <c:pt idx="5712">
                  <c:v>-1.1238029239673712E-2</c:v>
                </c:pt>
                <c:pt idx="5713">
                  <c:v>-1.1076983772016512E-2</c:v>
                </c:pt>
                <c:pt idx="5714">
                  <c:v>-1.0819390679789799E-2</c:v>
                </c:pt>
                <c:pt idx="5715">
                  <c:v>-1.1031257875574692E-2</c:v>
                </c:pt>
                <c:pt idx="5716">
                  <c:v>-1.1147909494701095E-2</c:v>
                </c:pt>
                <c:pt idx="5717">
                  <c:v>-1.1048458303368836E-2</c:v>
                </c:pt>
                <c:pt idx="5718">
                  <c:v>-1.0872996057873393E-2</c:v>
                </c:pt>
                <c:pt idx="5719">
                  <c:v>-1.0660018441553095E-2</c:v>
                </c:pt>
                <c:pt idx="5720">
                  <c:v>-1.0589994513160022E-2</c:v>
                </c:pt>
                <c:pt idx="5721">
                  <c:v>-1.0703812956889781E-2</c:v>
                </c:pt>
                <c:pt idx="5722">
                  <c:v>-1.0717582882396734E-2</c:v>
                </c:pt>
                <c:pt idx="5723">
                  <c:v>-1.084106803546357E-2</c:v>
                </c:pt>
                <c:pt idx="5724">
                  <c:v>-1.0860139133866359E-2</c:v>
                </c:pt>
                <c:pt idx="5725">
                  <c:v>-1.0882672371662679E-2</c:v>
                </c:pt>
                <c:pt idx="5726">
                  <c:v>-1.090301055496593E-2</c:v>
                </c:pt>
                <c:pt idx="5727">
                  <c:v>-1.0861542269617483E-2</c:v>
                </c:pt>
                <c:pt idx="5728">
                  <c:v>-1.0878490349071908E-2</c:v>
                </c:pt>
                <c:pt idx="5729">
                  <c:v>-1.0910514026160488E-2</c:v>
                </c:pt>
                <c:pt idx="5730">
                  <c:v>-1.077140807827867E-2</c:v>
                </c:pt>
                <c:pt idx="5731">
                  <c:v>-1.0339123530144828E-2</c:v>
                </c:pt>
                <c:pt idx="5732">
                  <c:v>-1.018970574376581E-2</c:v>
                </c:pt>
                <c:pt idx="5733">
                  <c:v>-1.0198261867642501E-2</c:v>
                </c:pt>
                <c:pt idx="5734">
                  <c:v>-9.9913029181497859E-3</c:v>
                </c:pt>
                <c:pt idx="5735">
                  <c:v>-9.629814027917627E-3</c:v>
                </c:pt>
                <c:pt idx="5736">
                  <c:v>-9.2096044671043063E-3</c:v>
                </c:pt>
                <c:pt idx="5737">
                  <c:v>-1.2013228504586155E-2</c:v>
                </c:pt>
                <c:pt idx="5738">
                  <c:v>-1.4913682207154078E-2</c:v>
                </c:pt>
                <c:pt idx="5739">
                  <c:v>-1.7487391821225412E-2</c:v>
                </c:pt>
                <c:pt idx="5740">
                  <c:v>-1.7456853909147058E-2</c:v>
                </c:pt>
                <c:pt idx="5741">
                  <c:v>-1.6907385556345172E-2</c:v>
                </c:pt>
                <c:pt idx="5742">
                  <c:v>-1.7447109305661845E-2</c:v>
                </c:pt>
                <c:pt idx="5743">
                  <c:v>-1.6945089259175542E-2</c:v>
                </c:pt>
                <c:pt idx="5744">
                  <c:v>-1.6355060788801345E-2</c:v>
                </c:pt>
                <c:pt idx="5745">
                  <c:v>-1.5464210410586866E-2</c:v>
                </c:pt>
                <c:pt idx="5746">
                  <c:v>-1.4379107132281736E-2</c:v>
                </c:pt>
                <c:pt idx="5747">
                  <c:v>-1.3742896293063052E-2</c:v>
                </c:pt>
                <c:pt idx="5748">
                  <c:v>-1.3537010518165376E-2</c:v>
                </c:pt>
                <c:pt idx="5749">
                  <c:v>-1.3438236916816651E-2</c:v>
                </c:pt>
                <c:pt idx="5750">
                  <c:v>-1.3719430539572308E-2</c:v>
                </c:pt>
                <c:pt idx="5751">
                  <c:v>-1.4069902856408491E-2</c:v>
                </c:pt>
                <c:pt idx="5752">
                  <c:v>-1.4816511280919653E-2</c:v>
                </c:pt>
                <c:pt idx="5753">
                  <c:v>-1.5709797340114118E-2</c:v>
                </c:pt>
                <c:pt idx="5754">
                  <c:v>-1.6227188555151397E-2</c:v>
                </c:pt>
                <c:pt idx="5755">
                  <c:v>-1.6616210635954844E-2</c:v>
                </c:pt>
                <c:pt idx="5756">
                  <c:v>-1.6746217385438474E-2</c:v>
                </c:pt>
                <c:pt idx="5757">
                  <c:v>-1.6893981978655697E-2</c:v>
                </c:pt>
                <c:pt idx="5758">
                  <c:v>-1.7068273934715789E-2</c:v>
                </c:pt>
                <c:pt idx="5759">
                  <c:v>-1.738783191143645E-2</c:v>
                </c:pt>
                <c:pt idx="5760">
                  <c:v>-1.8017400292698799E-2</c:v>
                </c:pt>
                <c:pt idx="5761">
                  <c:v>-1.9325962532820911E-2</c:v>
                </c:pt>
                <c:pt idx="5762">
                  <c:v>-1.8393594060086494E-2</c:v>
                </c:pt>
                <c:pt idx="5763">
                  <c:v>-1.8159357277178031E-2</c:v>
                </c:pt>
                <c:pt idx="5764">
                  <c:v>-1.7531141510980782E-2</c:v>
                </c:pt>
                <c:pt idx="5765">
                  <c:v>-1.7012881700450566E-2</c:v>
                </c:pt>
                <c:pt idx="5766">
                  <c:v>-1.6550771535226931E-2</c:v>
                </c:pt>
                <c:pt idx="5767">
                  <c:v>-1.6031077991226203E-2</c:v>
                </c:pt>
                <c:pt idx="5768">
                  <c:v>-1.5908245933658818E-2</c:v>
                </c:pt>
                <c:pt idx="5769">
                  <c:v>-1.4935692833416414E-2</c:v>
                </c:pt>
                <c:pt idx="5770">
                  <c:v>-1.4200140724342752E-2</c:v>
                </c:pt>
                <c:pt idx="5771">
                  <c:v>-1.3690275432341761E-2</c:v>
                </c:pt>
                <c:pt idx="5772">
                  <c:v>-1.341058824688497E-2</c:v>
                </c:pt>
                <c:pt idx="5773">
                  <c:v>-1.3673395036730122E-2</c:v>
                </c:pt>
                <c:pt idx="5774">
                  <c:v>-1.4405192425691759E-2</c:v>
                </c:pt>
                <c:pt idx="5775">
                  <c:v>-1.5331113494624602E-2</c:v>
                </c:pt>
                <c:pt idx="5776">
                  <c:v>-1.6664993815407581E-2</c:v>
                </c:pt>
                <c:pt idx="5777">
                  <c:v>-1.7702771119474506E-2</c:v>
                </c:pt>
                <c:pt idx="5778">
                  <c:v>-1.8562672770724178E-2</c:v>
                </c:pt>
                <c:pt idx="5779">
                  <c:v>-1.9367576542665386E-2</c:v>
                </c:pt>
                <c:pt idx="5780">
                  <c:v>-2.0056399301877234E-2</c:v>
                </c:pt>
                <c:pt idx="5781">
                  <c:v>-2.0582995082337519E-2</c:v>
                </c:pt>
                <c:pt idx="5782">
                  <c:v>-2.0990889313572833E-2</c:v>
                </c:pt>
                <c:pt idx="5783">
                  <c:v>-2.1448974153710477E-2</c:v>
                </c:pt>
                <c:pt idx="5784">
                  <c:v>-2.1810062888566066E-2</c:v>
                </c:pt>
                <c:pt idx="5785">
                  <c:v>-2.2114329472666457E-2</c:v>
                </c:pt>
                <c:pt idx="5786">
                  <c:v>-2.2536863111548015E-2</c:v>
                </c:pt>
                <c:pt idx="5787">
                  <c:v>-2.2962189983330765E-2</c:v>
                </c:pt>
                <c:pt idx="5788">
                  <c:v>-2.32824545995476E-2</c:v>
                </c:pt>
                <c:pt idx="5789">
                  <c:v>-2.3279919107263035E-2</c:v>
                </c:pt>
                <c:pt idx="5790">
                  <c:v>-2.3050391078002642E-2</c:v>
                </c:pt>
                <c:pt idx="5791">
                  <c:v>-2.2488612463154298E-2</c:v>
                </c:pt>
                <c:pt idx="5792">
                  <c:v>-2.3659976124031562E-2</c:v>
                </c:pt>
                <c:pt idx="5793">
                  <c:v>-2.3017081766266885E-2</c:v>
                </c:pt>
                <c:pt idx="5794">
                  <c:v>-2.2525058862179918E-2</c:v>
                </c:pt>
                <c:pt idx="5795">
                  <c:v>-2.2267439845476175E-2</c:v>
                </c:pt>
                <c:pt idx="5796">
                  <c:v>-2.2280514403376292E-2</c:v>
                </c:pt>
                <c:pt idx="5797">
                  <c:v>-2.2335252280076302E-2</c:v>
                </c:pt>
                <c:pt idx="5798">
                  <c:v>-2.2334504017376518E-2</c:v>
                </c:pt>
                <c:pt idx="5799">
                  <c:v>-2.2878109070914955E-2</c:v>
                </c:pt>
                <c:pt idx="5800">
                  <c:v>-2.2750626527059156E-2</c:v>
                </c:pt>
                <c:pt idx="5801">
                  <c:v>-2.3319214007710747E-2</c:v>
                </c:pt>
                <c:pt idx="5802">
                  <c:v>-2.4102977294621832E-2</c:v>
                </c:pt>
                <c:pt idx="5803">
                  <c:v>-2.4753276961536702E-2</c:v>
                </c:pt>
                <c:pt idx="5804">
                  <c:v>-2.5116568463636552E-2</c:v>
                </c:pt>
                <c:pt idx="5805">
                  <c:v>-2.5251848710959361E-2</c:v>
                </c:pt>
                <c:pt idx="5806">
                  <c:v>-2.5130180631974239E-2</c:v>
                </c:pt>
                <c:pt idx="5807">
                  <c:v>-2.4922709522989691E-2</c:v>
                </c:pt>
                <c:pt idx="5808">
                  <c:v>-2.4515596073602958E-2</c:v>
                </c:pt>
                <c:pt idx="5809">
                  <c:v>-2.3963528101719735E-2</c:v>
                </c:pt>
                <c:pt idx="5810">
                  <c:v>-2.3511207512114881E-2</c:v>
                </c:pt>
                <c:pt idx="5811">
                  <c:v>-2.3102134800930478E-2</c:v>
                </c:pt>
                <c:pt idx="5812">
                  <c:v>-2.2690988870485356E-2</c:v>
                </c:pt>
                <c:pt idx="5813">
                  <c:v>-2.2025084360936038E-2</c:v>
                </c:pt>
                <c:pt idx="5814">
                  <c:v>-2.1468943233606621E-2</c:v>
                </c:pt>
                <c:pt idx="5815">
                  <c:v>-2.0986314563123137E-2</c:v>
                </c:pt>
                <c:pt idx="5816">
                  <c:v>-2.03774163214442E-2</c:v>
                </c:pt>
                <c:pt idx="5817">
                  <c:v>-2.0292665091904534E-2</c:v>
                </c:pt>
                <c:pt idx="5818">
                  <c:v>-2.0235733051362996E-2</c:v>
                </c:pt>
                <c:pt idx="5819">
                  <c:v>-1.960458418056632E-2</c:v>
                </c:pt>
                <c:pt idx="5820">
                  <c:v>-1.9231671541310103E-2</c:v>
                </c:pt>
                <c:pt idx="5821">
                  <c:v>-1.9261590749872284E-2</c:v>
                </c:pt>
                <c:pt idx="5822">
                  <c:v>-1.9022230136363547E-2</c:v>
                </c:pt>
                <c:pt idx="5823">
                  <c:v>-1.8827943861830357E-2</c:v>
                </c:pt>
                <c:pt idx="5824">
                  <c:v>-1.8858317037054907E-2</c:v>
                </c:pt>
                <c:pt idx="5825">
                  <c:v>-1.9044403784612623E-2</c:v>
                </c:pt>
                <c:pt idx="5826">
                  <c:v>-1.9020870323185876E-2</c:v>
                </c:pt>
                <c:pt idx="5827">
                  <c:v>-1.8916765566750461E-2</c:v>
                </c:pt>
                <c:pt idx="5828">
                  <c:v>-1.8676307338533749E-2</c:v>
                </c:pt>
                <c:pt idx="5829">
                  <c:v>-1.852623021456333E-2</c:v>
                </c:pt>
                <c:pt idx="5830">
                  <c:v>-1.8562790101031779E-2</c:v>
                </c:pt>
                <c:pt idx="5831">
                  <c:v>-1.8432041003599672E-2</c:v>
                </c:pt>
                <c:pt idx="5832">
                  <c:v>-1.8317755328504506E-2</c:v>
                </c:pt>
                <c:pt idx="5833">
                  <c:v>-1.8490109065865366E-2</c:v>
                </c:pt>
                <c:pt idx="5834">
                  <c:v>-1.8709895502169699E-2</c:v>
                </c:pt>
                <c:pt idx="5835">
                  <c:v>-1.8765038813011958E-2</c:v>
                </c:pt>
                <c:pt idx="5836">
                  <c:v>-1.8346130481641076E-2</c:v>
                </c:pt>
                <c:pt idx="5837">
                  <c:v>-1.7865917818806074E-2</c:v>
                </c:pt>
                <c:pt idx="5838">
                  <c:v>-1.743774017865421E-2</c:v>
                </c:pt>
                <c:pt idx="5839">
                  <c:v>-1.7206888408263267E-2</c:v>
                </c:pt>
                <c:pt idx="5840">
                  <c:v>-1.7065543632546282E-2</c:v>
                </c:pt>
                <c:pt idx="5841">
                  <c:v>-1.7021935364473492E-2</c:v>
                </c:pt>
                <c:pt idx="5842">
                  <c:v>-1.7208833198274882E-2</c:v>
                </c:pt>
                <c:pt idx="5843">
                  <c:v>-1.7755920157692357E-2</c:v>
                </c:pt>
                <c:pt idx="5844">
                  <c:v>-1.852188186049273E-2</c:v>
                </c:pt>
                <c:pt idx="5845">
                  <c:v>-1.9327911410852119E-2</c:v>
                </c:pt>
                <c:pt idx="5846">
                  <c:v>-1.9940386421567438E-2</c:v>
                </c:pt>
                <c:pt idx="5847">
                  <c:v>-2.0153209039807427E-2</c:v>
                </c:pt>
                <c:pt idx="5848">
                  <c:v>-2.0245859512131308E-2</c:v>
                </c:pt>
                <c:pt idx="5849">
                  <c:v>-2.0154815668048127E-2</c:v>
                </c:pt>
                <c:pt idx="5850">
                  <c:v>-1.988136767404703E-2</c:v>
                </c:pt>
                <c:pt idx="5851">
                  <c:v>-1.9685190102536318E-2</c:v>
                </c:pt>
                <c:pt idx="5852">
                  <c:v>-1.9814136036619759E-2</c:v>
                </c:pt>
                <c:pt idx="5853">
                  <c:v>-1.9974199492733557E-2</c:v>
                </c:pt>
                <c:pt idx="5854">
                  <c:v>-1.9951463617555162E-2</c:v>
                </c:pt>
                <c:pt idx="5855">
                  <c:v>-1.9869699261873416E-2</c:v>
                </c:pt>
                <c:pt idx="5856">
                  <c:v>-1.9970991222774376E-2</c:v>
                </c:pt>
                <c:pt idx="5857">
                  <c:v>-2.0220803456696242E-2</c:v>
                </c:pt>
                <c:pt idx="5858">
                  <c:v>-2.0471708032730407E-2</c:v>
                </c:pt>
                <c:pt idx="5859">
                  <c:v>-2.0709664335616426E-2</c:v>
                </c:pt>
                <c:pt idx="5860">
                  <c:v>-2.0945785513690793E-2</c:v>
                </c:pt>
                <c:pt idx="5861">
                  <c:v>-2.0899437346571348E-2</c:v>
                </c:pt>
                <c:pt idx="5862">
                  <c:v>-2.0551834372910447E-2</c:v>
                </c:pt>
                <c:pt idx="5863">
                  <c:v>-1.9761355055781769E-2</c:v>
                </c:pt>
                <c:pt idx="5864">
                  <c:v>-1.8779798965981694E-2</c:v>
                </c:pt>
                <c:pt idx="5865">
                  <c:v>-1.785057863569537E-2</c:v>
                </c:pt>
                <c:pt idx="5866">
                  <c:v>-1.7457171789467353E-2</c:v>
                </c:pt>
                <c:pt idx="5867">
                  <c:v>-1.6928382243056789E-2</c:v>
                </c:pt>
                <c:pt idx="5868">
                  <c:v>-1.6305118580219966E-2</c:v>
                </c:pt>
                <c:pt idx="5869">
                  <c:v>-1.5308662220733448E-2</c:v>
                </c:pt>
                <c:pt idx="5870">
                  <c:v>-1.4027270992005384E-2</c:v>
                </c:pt>
                <c:pt idx="5871">
                  <c:v>-1.2866325343956127E-2</c:v>
                </c:pt>
                <c:pt idx="5872">
                  <c:v>-1.2341513605519121E-2</c:v>
                </c:pt>
                <c:pt idx="5873">
                  <c:v>-1.2775668314165992E-2</c:v>
                </c:pt>
                <c:pt idx="5874">
                  <c:v>-1.4295236806640171E-2</c:v>
                </c:pt>
                <c:pt idx="5875">
                  <c:v>-1.5294593958850227E-2</c:v>
                </c:pt>
                <c:pt idx="5876">
                  <c:v>-1.6632652458000316E-2</c:v>
                </c:pt>
                <c:pt idx="5877">
                  <c:v>-1.8185559459017415E-2</c:v>
                </c:pt>
                <c:pt idx="5878">
                  <c:v>-1.9673052251987344E-2</c:v>
                </c:pt>
                <c:pt idx="5879">
                  <c:v>-2.0839347913272417E-2</c:v>
                </c:pt>
                <c:pt idx="5880">
                  <c:v>-2.1826089459095258E-2</c:v>
                </c:pt>
                <c:pt idx="5881">
                  <c:v>-2.2649218478423508E-2</c:v>
                </c:pt>
                <c:pt idx="5882">
                  <c:v>-2.3355407116694309E-2</c:v>
                </c:pt>
                <c:pt idx="5883">
                  <c:v>-2.3984599524109439E-2</c:v>
                </c:pt>
                <c:pt idx="5884">
                  <c:v>-2.4515937528668735E-2</c:v>
                </c:pt>
                <c:pt idx="5885">
                  <c:v>-2.4704635858747673E-2</c:v>
                </c:pt>
                <c:pt idx="5886">
                  <c:v>-2.4617060285099995E-2</c:v>
                </c:pt>
                <c:pt idx="5887">
                  <c:v>-2.4273195630728196E-2</c:v>
                </c:pt>
                <c:pt idx="5888">
                  <c:v>-2.4021287255057873E-2</c:v>
                </c:pt>
                <c:pt idx="5889">
                  <c:v>-2.3676386517380812E-2</c:v>
                </c:pt>
                <c:pt idx="5890">
                  <c:v>-2.3334701540776277E-2</c:v>
                </c:pt>
                <c:pt idx="5891">
                  <c:v>-2.2966335964957479E-2</c:v>
                </c:pt>
                <c:pt idx="5892">
                  <c:v>-2.2634942991384015E-2</c:v>
                </c:pt>
                <c:pt idx="5893">
                  <c:v>-2.2461739401543057E-2</c:v>
                </c:pt>
                <c:pt idx="5894">
                  <c:v>-2.2090093461197023E-2</c:v>
                </c:pt>
                <c:pt idx="5895">
                  <c:v>-2.1133626583027136E-2</c:v>
                </c:pt>
                <c:pt idx="5896">
                  <c:v>-2.0256329809102275E-2</c:v>
                </c:pt>
                <c:pt idx="5897">
                  <c:v>-1.9343053861786978E-2</c:v>
                </c:pt>
                <c:pt idx="5898">
                  <c:v>-1.851168592919562E-2</c:v>
                </c:pt>
                <c:pt idx="5899">
                  <c:v>-1.7896031406694914E-2</c:v>
                </c:pt>
                <c:pt idx="5900">
                  <c:v>-1.710460079865149E-2</c:v>
                </c:pt>
                <c:pt idx="5901">
                  <c:v>-1.6261826178700985E-2</c:v>
                </c:pt>
                <c:pt idx="5902">
                  <c:v>-1.5859522800137082E-2</c:v>
                </c:pt>
                <c:pt idx="5903">
                  <c:v>-1.5705321225169731E-2</c:v>
                </c:pt>
                <c:pt idx="5904">
                  <c:v>-1.580393614093685E-2</c:v>
                </c:pt>
                <c:pt idx="5905">
                  <c:v>-1.5953740539093687E-2</c:v>
                </c:pt>
                <c:pt idx="5906">
                  <c:v>-1.6169559430280936E-2</c:v>
                </c:pt>
                <c:pt idx="5907">
                  <c:v>-1.6225479849002172E-2</c:v>
                </c:pt>
                <c:pt idx="5908">
                  <c:v>-1.6127972561866197E-2</c:v>
                </c:pt>
                <c:pt idx="5909">
                  <c:v>-1.6150465018220549E-2</c:v>
                </c:pt>
                <c:pt idx="5910">
                  <c:v>-1.6162246487004629E-2</c:v>
                </c:pt>
                <c:pt idx="5911">
                  <c:v>-1.619934135857707E-2</c:v>
                </c:pt>
                <c:pt idx="5912">
                  <c:v>-1.6245520936160347E-2</c:v>
                </c:pt>
                <c:pt idx="5913">
                  <c:v>-1.6131844197454823E-2</c:v>
                </c:pt>
                <c:pt idx="5914">
                  <c:v>-1.6139543441888199E-2</c:v>
                </c:pt>
                <c:pt idx="5915">
                  <c:v>-1.6286692853995172E-2</c:v>
                </c:pt>
                <c:pt idx="5916">
                  <c:v>-1.6514583765042487E-2</c:v>
                </c:pt>
                <c:pt idx="5917">
                  <c:v>-1.6599057399950198E-2</c:v>
                </c:pt>
                <c:pt idx="5918">
                  <c:v>-1.6932848816937456E-2</c:v>
                </c:pt>
                <c:pt idx="5919">
                  <c:v>-1.71953265542776E-2</c:v>
                </c:pt>
                <c:pt idx="5920">
                  <c:v>-1.7316554980646947E-2</c:v>
                </c:pt>
                <c:pt idx="5921">
                  <c:v>-1.7025408130532795E-2</c:v>
                </c:pt>
                <c:pt idx="5922">
                  <c:v>-1.6608635640856736E-2</c:v>
                </c:pt>
                <c:pt idx="5923">
                  <c:v>-1.555501721476139E-2</c:v>
                </c:pt>
                <c:pt idx="5924">
                  <c:v>-1.4341032137509035E-2</c:v>
                </c:pt>
                <c:pt idx="5925">
                  <c:v>-1.3517137493668903E-2</c:v>
                </c:pt>
                <c:pt idx="5926">
                  <c:v>-1.314411986612259E-2</c:v>
                </c:pt>
                <c:pt idx="5927">
                  <c:v>-1.3566635472649996E-2</c:v>
                </c:pt>
                <c:pt idx="5928">
                  <c:v>-1.4760933131977528E-2</c:v>
                </c:pt>
                <c:pt idx="5929">
                  <c:v>-1.6567297341099976E-2</c:v>
                </c:pt>
                <c:pt idx="5930">
                  <c:v>-1.8546746069343836E-2</c:v>
                </c:pt>
                <c:pt idx="5931">
                  <c:v>-2.0351414919354549E-2</c:v>
                </c:pt>
                <c:pt idx="5932">
                  <c:v>-2.1633010113777766E-2</c:v>
                </c:pt>
                <c:pt idx="5933">
                  <c:v>-2.2654624267126763E-2</c:v>
                </c:pt>
                <c:pt idx="5934">
                  <c:v>-2.3558666122019199E-2</c:v>
                </c:pt>
                <c:pt idx="5935">
                  <c:v>-2.4189763485991084E-2</c:v>
                </c:pt>
                <c:pt idx="5936">
                  <c:v>-2.4712784706387405E-2</c:v>
                </c:pt>
                <c:pt idx="5937">
                  <c:v>-2.5280808255527566E-2</c:v>
                </c:pt>
                <c:pt idx="5938">
                  <c:v>-2.2288784683614903E-2</c:v>
                </c:pt>
                <c:pt idx="5939">
                  <c:v>-2.2299728067153059E-2</c:v>
                </c:pt>
                <c:pt idx="5940">
                  <c:v>-2.2424329380116927E-2</c:v>
                </c:pt>
                <c:pt idx="5941">
                  <c:v>-2.2430153060781409E-2</c:v>
                </c:pt>
                <c:pt idx="5942">
                  <c:v>-2.1283735595254906E-2</c:v>
                </c:pt>
                <c:pt idx="5943">
                  <c:v>-2.1283866160736228E-2</c:v>
                </c:pt>
                <c:pt idx="5944">
                  <c:v>-2.0931855839811914E-2</c:v>
                </c:pt>
                <c:pt idx="5945">
                  <c:v>-2.0367077727880205E-2</c:v>
                </c:pt>
                <c:pt idx="5946">
                  <c:v>-1.9829730733599407E-2</c:v>
                </c:pt>
                <c:pt idx="5947">
                  <c:v>-1.9384782024619004E-2</c:v>
                </c:pt>
                <c:pt idx="5948">
                  <c:v>-1.9377277059017553E-2</c:v>
                </c:pt>
                <c:pt idx="5949">
                  <c:v>-1.968767909923029E-2</c:v>
                </c:pt>
                <c:pt idx="5950">
                  <c:v>-1.9483785381925033E-2</c:v>
                </c:pt>
                <c:pt idx="5951">
                  <c:v>-1.9373084375074984E-2</c:v>
                </c:pt>
                <c:pt idx="5952">
                  <c:v>-1.9500667176265977E-2</c:v>
                </c:pt>
                <c:pt idx="5953">
                  <c:v>-1.9599478704450633E-2</c:v>
                </c:pt>
                <c:pt idx="5954">
                  <c:v>-1.9747248842612967E-2</c:v>
                </c:pt>
                <c:pt idx="5955">
                  <c:v>-1.9722719426183699E-2</c:v>
                </c:pt>
                <c:pt idx="5956">
                  <c:v>-1.9696655622261635E-2</c:v>
                </c:pt>
                <c:pt idx="5957">
                  <c:v>-1.9662349367740938E-2</c:v>
                </c:pt>
                <c:pt idx="5958">
                  <c:v>-1.96427147832717E-2</c:v>
                </c:pt>
                <c:pt idx="5959">
                  <c:v>-1.9560135188539683E-2</c:v>
                </c:pt>
                <c:pt idx="5960">
                  <c:v>-1.9401042912365565E-2</c:v>
                </c:pt>
                <c:pt idx="5961">
                  <c:v>-1.9163413969817723E-2</c:v>
                </c:pt>
                <c:pt idx="5962">
                  <c:v>-1.8995732463332644E-2</c:v>
                </c:pt>
                <c:pt idx="5963">
                  <c:v>-1.8790545353924791E-2</c:v>
                </c:pt>
                <c:pt idx="5964">
                  <c:v>-1.8554605133535431E-2</c:v>
                </c:pt>
                <c:pt idx="5965">
                  <c:v>-1.8355419827297544E-2</c:v>
                </c:pt>
                <c:pt idx="5966">
                  <c:v>-1.803018875018475E-2</c:v>
                </c:pt>
                <c:pt idx="5967">
                  <c:v>-1.7685408550749258E-2</c:v>
                </c:pt>
                <c:pt idx="5968">
                  <c:v>-2.0750023973549185E-2</c:v>
                </c:pt>
                <c:pt idx="5969">
                  <c:v>-2.0973526209494532E-2</c:v>
                </c:pt>
                <c:pt idx="5970">
                  <c:v>-2.0581608561848954E-2</c:v>
                </c:pt>
                <c:pt idx="5971">
                  <c:v>-2.0270439382599769E-2</c:v>
                </c:pt>
                <c:pt idx="5972">
                  <c:v>-2.1251272558917983E-2</c:v>
                </c:pt>
                <c:pt idx="5973">
                  <c:v>-2.0472068552839222E-2</c:v>
                </c:pt>
                <c:pt idx="5974">
                  <c:v>-2.0414808133686804E-2</c:v>
                </c:pt>
                <c:pt idx="5975">
                  <c:v>-2.0081137052689567E-2</c:v>
                </c:pt>
                <c:pt idx="5976">
                  <c:v>-2.0319905489066401E-2</c:v>
                </c:pt>
                <c:pt idx="5977">
                  <c:v>-2.0533027677972517E-2</c:v>
                </c:pt>
                <c:pt idx="5978">
                  <c:v>-1.9547804855556225E-2</c:v>
                </c:pt>
                <c:pt idx="5979">
                  <c:v>-1.9579705287477094E-2</c:v>
                </c:pt>
                <c:pt idx="5980">
                  <c:v>-2.0198137161891234E-2</c:v>
                </c:pt>
                <c:pt idx="5981">
                  <c:v>-2.0176005377763574E-2</c:v>
                </c:pt>
                <c:pt idx="5982">
                  <c:v>-2.0060116583187203E-2</c:v>
                </c:pt>
                <c:pt idx="5983">
                  <c:v>-1.9846549374551346E-2</c:v>
                </c:pt>
                <c:pt idx="5984">
                  <c:v>-1.9645488280146936E-2</c:v>
                </c:pt>
                <c:pt idx="5985">
                  <c:v>-1.958528751467721E-2</c:v>
                </c:pt>
                <c:pt idx="5986">
                  <c:v>-1.9513000045249546E-2</c:v>
                </c:pt>
                <c:pt idx="5987">
                  <c:v>-1.9392431127461911E-2</c:v>
                </c:pt>
                <c:pt idx="5988">
                  <c:v>-1.9389584440223578E-2</c:v>
                </c:pt>
                <c:pt idx="5989">
                  <c:v>-1.9845270697845439E-2</c:v>
                </c:pt>
                <c:pt idx="5990">
                  <c:v>-2.0174739616472717E-2</c:v>
                </c:pt>
                <c:pt idx="5991">
                  <c:v>-2.0353971528972808E-2</c:v>
                </c:pt>
                <c:pt idx="5992">
                  <c:v>-2.0192406837482538E-2</c:v>
                </c:pt>
                <c:pt idx="5993">
                  <c:v>-1.9796575157740491E-2</c:v>
                </c:pt>
                <c:pt idx="5994">
                  <c:v>-1.943180807912865E-2</c:v>
                </c:pt>
                <c:pt idx="5995">
                  <c:v>-1.9152329690732696E-2</c:v>
                </c:pt>
                <c:pt idx="5996">
                  <c:v>-1.8860791205618475E-2</c:v>
                </c:pt>
                <c:pt idx="5997">
                  <c:v>-1.8611742121185597E-2</c:v>
                </c:pt>
                <c:pt idx="5998">
                  <c:v>-1.8436163021851228E-2</c:v>
                </c:pt>
                <c:pt idx="5999">
                  <c:v>-1.8278120462366113E-2</c:v>
                </c:pt>
                <c:pt idx="6000">
                  <c:v>-1.6889956998685816E-2</c:v>
                </c:pt>
                <c:pt idx="6001">
                  <c:v>-1.5814858334509095E-2</c:v>
                </c:pt>
                <c:pt idx="6002">
                  <c:v>-1.5679864080644208E-2</c:v>
                </c:pt>
                <c:pt idx="6003">
                  <c:v>-1.6210236385695236E-2</c:v>
                </c:pt>
                <c:pt idx="6004">
                  <c:v>-1.6641104088951107E-2</c:v>
                </c:pt>
                <c:pt idx="6005">
                  <c:v>-1.7549844682634947E-2</c:v>
                </c:pt>
                <c:pt idx="6006">
                  <c:v>-1.7651692276391587E-2</c:v>
                </c:pt>
                <c:pt idx="6007">
                  <c:v>-1.7726003100630779E-2</c:v>
                </c:pt>
                <c:pt idx="6008">
                  <c:v>-1.9138559790022582E-2</c:v>
                </c:pt>
                <c:pt idx="6009">
                  <c:v>-1.9113907470292842E-2</c:v>
                </c:pt>
                <c:pt idx="6010">
                  <c:v>-1.8801576329606929E-2</c:v>
                </c:pt>
                <c:pt idx="6011">
                  <c:v>-1.8445285774590533E-2</c:v>
                </c:pt>
                <c:pt idx="6012">
                  <c:v>-1.8121002408927698E-2</c:v>
                </c:pt>
                <c:pt idx="6013">
                  <c:v>-1.7795147319032992E-2</c:v>
                </c:pt>
                <c:pt idx="6014">
                  <c:v>-1.7761082129979639E-2</c:v>
                </c:pt>
                <c:pt idx="6015">
                  <c:v>-1.7230041697422822E-2</c:v>
                </c:pt>
                <c:pt idx="6016">
                  <c:v>-1.6984558216237212E-2</c:v>
                </c:pt>
                <c:pt idx="6017">
                  <c:v>-1.6951565636092084E-2</c:v>
                </c:pt>
                <c:pt idx="6018">
                  <c:v>-1.697601837344638E-2</c:v>
                </c:pt>
                <c:pt idx="6019">
                  <c:v>-1.6802810856013727E-2</c:v>
                </c:pt>
                <c:pt idx="6020">
                  <c:v>-1.650214838864137E-2</c:v>
                </c:pt>
                <c:pt idx="6021">
                  <c:v>-1.6612550842236069E-2</c:v>
                </c:pt>
                <c:pt idx="6022">
                  <c:v>-1.6694646805364814E-2</c:v>
                </c:pt>
                <c:pt idx="6023">
                  <c:v>-1.6552222642702792E-2</c:v>
                </c:pt>
                <c:pt idx="6024">
                  <c:v>-1.5980367945571249E-2</c:v>
                </c:pt>
                <c:pt idx="6025">
                  <c:v>-1.5177475536658483E-2</c:v>
                </c:pt>
                <c:pt idx="6026">
                  <c:v>-1.4534369271250328E-2</c:v>
                </c:pt>
                <c:pt idx="6027">
                  <c:v>-1.3477856230180952E-2</c:v>
                </c:pt>
                <c:pt idx="6028">
                  <c:v>-1.194927549586716E-2</c:v>
                </c:pt>
                <c:pt idx="6029">
                  <c:v>-1.0383884563614981E-2</c:v>
                </c:pt>
                <c:pt idx="6030">
                  <c:v>-9.6842393917658687E-3</c:v>
                </c:pt>
                <c:pt idx="6031">
                  <c:v>-9.3153665330165166E-3</c:v>
                </c:pt>
                <c:pt idx="6032">
                  <c:v>-1.0778715027590195E-2</c:v>
                </c:pt>
                <c:pt idx="6033">
                  <c:v>-1.1921972918277913E-2</c:v>
                </c:pt>
                <c:pt idx="6034">
                  <c:v>-1.253219290211046E-2</c:v>
                </c:pt>
                <c:pt idx="6035">
                  <c:v>-1.2556737908958539E-2</c:v>
                </c:pt>
                <c:pt idx="6036">
                  <c:v>-1.2924823691070021E-2</c:v>
                </c:pt>
                <c:pt idx="6037">
                  <c:v>-1.2904997831984347E-2</c:v>
                </c:pt>
                <c:pt idx="6038">
                  <c:v>-1.2869151843501091E-2</c:v>
                </c:pt>
                <c:pt idx="6039">
                  <c:v>-1.2890978090787725E-2</c:v>
                </c:pt>
                <c:pt idx="6040">
                  <c:v>-1.2980563412974567E-2</c:v>
                </c:pt>
                <c:pt idx="6041">
                  <c:v>-1.3098473223026711E-2</c:v>
                </c:pt>
                <c:pt idx="6042">
                  <c:v>-1.3126448426534404E-2</c:v>
                </c:pt>
                <c:pt idx="6043">
                  <c:v>-1.3135188481699702E-2</c:v>
                </c:pt>
                <c:pt idx="6044">
                  <c:v>-1.3044147369626197E-2</c:v>
                </c:pt>
                <c:pt idx="6045">
                  <c:v>-1.3371452917161646E-2</c:v>
                </c:pt>
                <c:pt idx="6046">
                  <c:v>-1.3318705320607688E-2</c:v>
                </c:pt>
                <c:pt idx="6047">
                  <c:v>-1.331030866041322E-2</c:v>
                </c:pt>
                <c:pt idx="6048">
                  <c:v>-1.2805466292884846E-2</c:v>
                </c:pt>
                <c:pt idx="6049">
                  <c:v>-1.2869785102765088E-2</c:v>
                </c:pt>
                <c:pt idx="6050">
                  <c:v>-1.3174648163852824E-2</c:v>
                </c:pt>
                <c:pt idx="6051">
                  <c:v>-1.1184282331890498E-2</c:v>
                </c:pt>
                <c:pt idx="6052">
                  <c:v>-1.0357067968666256E-2</c:v>
                </c:pt>
                <c:pt idx="6053">
                  <c:v>-9.9813923875282547E-3</c:v>
                </c:pt>
                <c:pt idx="6054">
                  <c:v>-1.1900547989556864E-2</c:v>
                </c:pt>
                <c:pt idx="6055">
                  <c:v>-1.4531120532187268E-2</c:v>
                </c:pt>
                <c:pt idx="6056">
                  <c:v>-1.5968737607055642E-2</c:v>
                </c:pt>
                <c:pt idx="6057">
                  <c:v>-1.7160174271940505E-2</c:v>
                </c:pt>
                <c:pt idx="6058">
                  <c:v>-1.8152559217314023E-2</c:v>
                </c:pt>
                <c:pt idx="6059">
                  <c:v>-1.8979501987187376E-2</c:v>
                </c:pt>
                <c:pt idx="6060">
                  <c:v>-1.9744343497874003E-2</c:v>
                </c:pt>
                <c:pt idx="6061">
                  <c:v>-2.0174334406160552E-2</c:v>
                </c:pt>
                <c:pt idx="6062">
                  <c:v>-2.0404344251290146E-2</c:v>
                </c:pt>
                <c:pt idx="6063">
                  <c:v>-2.0559762943366783E-2</c:v>
                </c:pt>
                <c:pt idx="6064">
                  <c:v>-2.0585931897965065E-2</c:v>
                </c:pt>
                <c:pt idx="6065">
                  <c:v>-2.05341535268996E-2</c:v>
                </c:pt>
                <c:pt idx="6066">
                  <c:v>-2.0402589321545466E-2</c:v>
                </c:pt>
                <c:pt idx="6067">
                  <c:v>-2.0239454126956741E-2</c:v>
                </c:pt>
                <c:pt idx="6068">
                  <c:v>-2.0112311109615505E-2</c:v>
                </c:pt>
                <c:pt idx="6069">
                  <c:v>-2.0017560263478767E-2</c:v>
                </c:pt>
                <c:pt idx="6070">
                  <c:v>-1.998360714238058E-2</c:v>
                </c:pt>
                <c:pt idx="6071">
                  <c:v>-1.9934707050204628E-2</c:v>
                </c:pt>
                <c:pt idx="6072">
                  <c:v>-2.0017491282862086E-2</c:v>
                </c:pt>
                <c:pt idx="6073">
                  <c:v>-2.0127875788840538E-2</c:v>
                </c:pt>
                <c:pt idx="6074">
                  <c:v>-2.0093914930188521E-2</c:v>
                </c:pt>
                <c:pt idx="6075">
                  <c:v>-1.977969262038818E-2</c:v>
                </c:pt>
                <c:pt idx="6076">
                  <c:v>-1.9463570051688819E-2</c:v>
                </c:pt>
                <c:pt idx="6077">
                  <c:v>-1.8893076896946037E-2</c:v>
                </c:pt>
                <c:pt idx="6078">
                  <c:v>-1.9017589594434232E-2</c:v>
                </c:pt>
                <c:pt idx="6079">
                  <c:v>-1.8033014881420985E-2</c:v>
                </c:pt>
                <c:pt idx="6080">
                  <c:v>-1.72304126040548E-2</c:v>
                </c:pt>
                <c:pt idx="6081">
                  <c:v>-1.7573945600953239E-2</c:v>
                </c:pt>
                <c:pt idx="6082">
                  <c:v>-1.739133522303335E-2</c:v>
                </c:pt>
                <c:pt idx="6083">
                  <c:v>-1.7931512824758206E-2</c:v>
                </c:pt>
                <c:pt idx="6084">
                  <c:v>-1.8942527853041249E-2</c:v>
                </c:pt>
                <c:pt idx="6085">
                  <c:v>-1.9777018892277589E-2</c:v>
                </c:pt>
                <c:pt idx="6086">
                  <c:v>-2.0328495574770903E-2</c:v>
                </c:pt>
                <c:pt idx="6087">
                  <c:v>-2.034498954580731E-2</c:v>
                </c:pt>
                <c:pt idx="6088">
                  <c:v>-1.9982892817898987E-2</c:v>
                </c:pt>
                <c:pt idx="6089">
                  <c:v>-1.8032039034799753E-2</c:v>
                </c:pt>
                <c:pt idx="6090">
                  <c:v>-1.6629849765822456E-2</c:v>
                </c:pt>
                <c:pt idx="6091">
                  <c:v>-1.6946962765880383E-2</c:v>
                </c:pt>
                <c:pt idx="6092">
                  <c:v>-1.7229481576353553E-2</c:v>
                </c:pt>
                <c:pt idx="6093">
                  <c:v>-1.6743092554953813E-2</c:v>
                </c:pt>
                <c:pt idx="6094">
                  <c:v>-1.7054478618867219E-2</c:v>
                </c:pt>
                <c:pt idx="6095">
                  <c:v>-1.7028130002963535E-2</c:v>
                </c:pt>
                <c:pt idx="6096">
                  <c:v>-1.7065852142997752E-2</c:v>
                </c:pt>
                <c:pt idx="6097">
                  <c:v>-1.7124376232946693E-2</c:v>
                </c:pt>
                <c:pt idx="6098">
                  <c:v>-1.7127628352547011E-2</c:v>
                </c:pt>
                <c:pt idx="6099">
                  <c:v>-1.7137902441082667E-2</c:v>
                </c:pt>
                <c:pt idx="6100">
                  <c:v>-1.6767879520897616E-2</c:v>
                </c:pt>
                <c:pt idx="6101">
                  <c:v>-1.650441240014916E-2</c:v>
                </c:pt>
                <c:pt idx="6102">
                  <c:v>-1.6057130212409124E-2</c:v>
                </c:pt>
                <c:pt idx="6103">
                  <c:v>-1.5150540138677154E-2</c:v>
                </c:pt>
                <c:pt idx="6104">
                  <c:v>-1.4549804006231836E-2</c:v>
                </c:pt>
                <c:pt idx="6105">
                  <c:v>-1.3652066491304179E-2</c:v>
                </c:pt>
                <c:pt idx="6106">
                  <c:v>-1.2357359362206085E-2</c:v>
                </c:pt>
                <c:pt idx="6107">
                  <c:v>-1.1000627586533959E-2</c:v>
                </c:pt>
                <c:pt idx="6108">
                  <c:v>-9.3759274532699555E-3</c:v>
                </c:pt>
                <c:pt idx="6109">
                  <c:v>-7.7876398374943766E-3</c:v>
                </c:pt>
                <c:pt idx="6110">
                  <c:v>-7.315535906204422E-3</c:v>
                </c:pt>
                <c:pt idx="6111">
                  <c:v>-7.4510822127623446E-3</c:v>
                </c:pt>
                <c:pt idx="6112">
                  <c:v>-7.8124161254163969E-3</c:v>
                </c:pt>
                <c:pt idx="6113">
                  <c:v>-8.3805233962816559E-3</c:v>
                </c:pt>
                <c:pt idx="6114">
                  <c:v>-8.8773458433250158E-3</c:v>
                </c:pt>
                <c:pt idx="6115">
                  <c:v>-9.1127898122866507E-3</c:v>
                </c:pt>
                <c:pt idx="6116">
                  <c:v>-9.1138968736945609E-3</c:v>
                </c:pt>
                <c:pt idx="6117">
                  <c:v>-9.0891666347427021E-3</c:v>
                </c:pt>
                <c:pt idx="6118">
                  <c:v>-9.1236044199927389E-3</c:v>
                </c:pt>
                <c:pt idx="6119">
                  <c:v>-1.02202034510461E-2</c:v>
                </c:pt>
                <c:pt idx="6120">
                  <c:v>-1.1959420248233096E-2</c:v>
                </c:pt>
                <c:pt idx="6121">
                  <c:v>-1.2420692209407894E-2</c:v>
                </c:pt>
                <c:pt idx="6122">
                  <c:v>-1.3351092718703708E-2</c:v>
                </c:pt>
                <c:pt idx="6123">
                  <c:v>-1.5490114434315527E-2</c:v>
                </c:pt>
                <c:pt idx="6124">
                  <c:v>-1.6019553645705106E-2</c:v>
                </c:pt>
                <c:pt idx="6125">
                  <c:v>-1.6758558339301025E-2</c:v>
                </c:pt>
                <c:pt idx="6126">
                  <c:v>-1.7218857839127966E-2</c:v>
                </c:pt>
                <c:pt idx="6127">
                  <c:v>-1.7366957878614152E-2</c:v>
                </c:pt>
                <c:pt idx="6128">
                  <c:v>-1.7458949639421774E-2</c:v>
                </c:pt>
                <c:pt idx="6129">
                  <c:v>-1.7558029862565314E-2</c:v>
                </c:pt>
                <c:pt idx="6130">
                  <c:v>-1.7849408773703966E-2</c:v>
                </c:pt>
                <c:pt idx="6131">
                  <c:v>-1.7316446332014217E-2</c:v>
                </c:pt>
                <c:pt idx="6132">
                  <c:v>-1.7538377684460989E-2</c:v>
                </c:pt>
                <c:pt idx="6133">
                  <c:v>-1.7902604153009101E-2</c:v>
                </c:pt>
                <c:pt idx="6134">
                  <c:v>-1.8414192032317239E-2</c:v>
                </c:pt>
                <c:pt idx="6135">
                  <c:v>-1.8550277375527145E-2</c:v>
                </c:pt>
                <c:pt idx="6136">
                  <c:v>-1.6920738330247636E-2</c:v>
                </c:pt>
                <c:pt idx="6137">
                  <c:v>-1.5530674856856403E-2</c:v>
                </c:pt>
                <c:pt idx="6138">
                  <c:v>-1.4264937882972078E-2</c:v>
                </c:pt>
                <c:pt idx="6139">
                  <c:v>-1.394574493880715E-2</c:v>
                </c:pt>
                <c:pt idx="6140">
                  <c:v>-1.4247363753859698E-2</c:v>
                </c:pt>
                <c:pt idx="6141">
                  <c:v>-1.4610824922220385E-2</c:v>
                </c:pt>
                <c:pt idx="6142">
                  <c:v>-1.496533532728528E-2</c:v>
                </c:pt>
                <c:pt idx="6143">
                  <c:v>-1.5040421739423592E-2</c:v>
                </c:pt>
                <c:pt idx="6144">
                  <c:v>-1.5048760277753028E-2</c:v>
                </c:pt>
                <c:pt idx="6145">
                  <c:v>-1.4945298412531506E-2</c:v>
                </c:pt>
                <c:pt idx="6146">
                  <c:v>-1.4462179760759499E-2</c:v>
                </c:pt>
                <c:pt idx="6147">
                  <c:v>-1.385593812891474E-2</c:v>
                </c:pt>
                <c:pt idx="6148">
                  <c:v>-1.320429814442901E-2</c:v>
                </c:pt>
                <c:pt idx="6149">
                  <c:v>-1.2546284916192845E-2</c:v>
                </c:pt>
                <c:pt idx="6150">
                  <c:v>-1.2562134628223752E-2</c:v>
                </c:pt>
                <c:pt idx="6151">
                  <c:v>-1.2696189710068924E-2</c:v>
                </c:pt>
                <c:pt idx="6152">
                  <c:v>-1.2790840379245822E-2</c:v>
                </c:pt>
                <c:pt idx="6153">
                  <c:v>-1.2842128081531855E-2</c:v>
                </c:pt>
                <c:pt idx="6154">
                  <c:v>-1.2990680925448406E-2</c:v>
                </c:pt>
                <c:pt idx="6155">
                  <c:v>-1.2957362402075611E-2</c:v>
                </c:pt>
                <c:pt idx="6156">
                  <c:v>-1.313649090182073E-2</c:v>
                </c:pt>
                <c:pt idx="6157">
                  <c:v>-1.3473408804452865E-2</c:v>
                </c:pt>
                <c:pt idx="6158">
                  <c:v>-1.4149778775641907E-2</c:v>
                </c:pt>
                <c:pt idx="6159">
                  <c:v>-1.4860994811864259E-2</c:v>
                </c:pt>
                <c:pt idx="6160">
                  <c:v>-1.556020445367317E-2</c:v>
                </c:pt>
                <c:pt idx="6161">
                  <c:v>-1.5316765123286731E-2</c:v>
                </c:pt>
                <c:pt idx="6162">
                  <c:v>-1.4078937733305274E-2</c:v>
                </c:pt>
                <c:pt idx="6163">
                  <c:v>-1.2889736881379031E-2</c:v>
                </c:pt>
                <c:pt idx="6164">
                  <c:v>-1.2239408841105165E-2</c:v>
                </c:pt>
                <c:pt idx="6165">
                  <c:v>-1.2426037363917859E-2</c:v>
                </c:pt>
                <c:pt idx="6166">
                  <c:v>-1.3433796386698714E-2</c:v>
                </c:pt>
                <c:pt idx="6167">
                  <c:v>-1.1786825046991046E-2</c:v>
                </c:pt>
                <c:pt idx="6168">
                  <c:v>-1.1124047592441122E-2</c:v>
                </c:pt>
                <c:pt idx="6169">
                  <c:v>-1.0620120692070235E-2</c:v>
                </c:pt>
                <c:pt idx="6170">
                  <c:v>-1.0926786512419694E-2</c:v>
                </c:pt>
                <c:pt idx="6171">
                  <c:v>-1.1235522354495478E-2</c:v>
                </c:pt>
                <c:pt idx="6172">
                  <c:v>-1.1656921710321125E-2</c:v>
                </c:pt>
                <c:pt idx="6173">
                  <c:v>-1.2000603689971384E-2</c:v>
                </c:pt>
                <c:pt idx="6174">
                  <c:v>-1.234637177937525E-2</c:v>
                </c:pt>
                <c:pt idx="6175">
                  <c:v>-1.2510385767065351E-2</c:v>
                </c:pt>
                <c:pt idx="6176">
                  <c:v>-1.2608373867545205E-2</c:v>
                </c:pt>
                <c:pt idx="6177">
                  <c:v>-1.2619118563895448E-2</c:v>
                </c:pt>
                <c:pt idx="6178">
                  <c:v>-1.2724307218049933E-2</c:v>
                </c:pt>
                <c:pt idx="6179">
                  <c:v>-1.2870007703156732E-2</c:v>
                </c:pt>
                <c:pt idx="6180">
                  <c:v>-1.2656221670567647E-2</c:v>
                </c:pt>
                <c:pt idx="6181">
                  <c:v>-1.2351189272002457E-2</c:v>
                </c:pt>
                <c:pt idx="6182">
                  <c:v>-1.2150330366056245E-2</c:v>
                </c:pt>
                <c:pt idx="6183">
                  <c:v>-1.217416891492097E-2</c:v>
                </c:pt>
                <c:pt idx="6184">
                  <c:v>-1.1798177421728938E-2</c:v>
                </c:pt>
                <c:pt idx="6185">
                  <c:v>-1.1643772258633034E-2</c:v>
                </c:pt>
                <c:pt idx="6186">
                  <c:v>-1.1632083696325317E-2</c:v>
                </c:pt>
                <c:pt idx="6187">
                  <c:v>-1.1894259196679746E-2</c:v>
                </c:pt>
                <c:pt idx="6188">
                  <c:v>-1.223125952062149E-2</c:v>
                </c:pt>
                <c:pt idx="6189">
                  <c:v>-1.2621543801219982E-2</c:v>
                </c:pt>
                <c:pt idx="6190">
                  <c:v>-1.2536363755324463E-2</c:v>
                </c:pt>
                <c:pt idx="6191">
                  <c:v>-1.3162733486842351E-2</c:v>
                </c:pt>
                <c:pt idx="6192">
                  <c:v>-1.3949078519898593E-2</c:v>
                </c:pt>
                <c:pt idx="6193">
                  <c:v>-1.4679757512430461E-2</c:v>
                </c:pt>
                <c:pt idx="6194">
                  <c:v>-1.5192279339697823E-2</c:v>
                </c:pt>
                <c:pt idx="6195">
                  <c:v>-1.5517572089106238E-2</c:v>
                </c:pt>
                <c:pt idx="6196">
                  <c:v>-1.5368078339903061E-2</c:v>
                </c:pt>
                <c:pt idx="6197">
                  <c:v>-1.7198068574222333E-2</c:v>
                </c:pt>
                <c:pt idx="6198">
                  <c:v>-1.846786001869789E-2</c:v>
                </c:pt>
                <c:pt idx="6199">
                  <c:v>-1.936107872766742E-2</c:v>
                </c:pt>
                <c:pt idx="6200">
                  <c:v>-1.7692312245923957E-2</c:v>
                </c:pt>
                <c:pt idx="6201">
                  <c:v>-1.6243833977109753E-2</c:v>
                </c:pt>
                <c:pt idx="6202">
                  <c:v>-1.3111228844380133E-2</c:v>
                </c:pt>
                <c:pt idx="6203">
                  <c:v>-9.4064624899833325E-3</c:v>
                </c:pt>
                <c:pt idx="6204">
                  <c:v>-4.7027503096071874E-3</c:v>
                </c:pt>
                <c:pt idx="6205">
                  <c:v>-1.3342643970637481E-3</c:v>
                </c:pt>
                <c:pt idx="6206">
                  <c:v>-1.6625573520877065E-3</c:v>
                </c:pt>
                <c:pt idx="6207">
                  <c:v>-1.8445102773711648E-3</c:v>
                </c:pt>
                <c:pt idx="6208">
                  <c:v>-1.8303305560821263E-3</c:v>
                </c:pt>
                <c:pt idx="6209">
                  <c:v>2.8135046062875958E-2</c:v>
                </c:pt>
                <c:pt idx="6210">
                  <c:v>2.857410528349362E-2</c:v>
                </c:pt>
                <c:pt idx="6211">
                  <c:v>2.8420211144886902E-2</c:v>
                </c:pt>
                <c:pt idx="6212">
                  <c:v>2.8821751584381508E-2</c:v>
                </c:pt>
                <c:pt idx="6213">
                  <c:v>3.5102415409265272E-2</c:v>
                </c:pt>
                <c:pt idx="6214">
                  <c:v>3.5191096773961011E-2</c:v>
                </c:pt>
                <c:pt idx="6215">
                  <c:v>3.5776675338471529E-2</c:v>
                </c:pt>
                <c:pt idx="6216">
                  <c:v>3.6081441339274711E-2</c:v>
                </c:pt>
                <c:pt idx="6217">
                  <c:v>3.6383055548387652E-2</c:v>
                </c:pt>
                <c:pt idx="6218">
                  <c:v>3.7907317477674403E-2</c:v>
                </c:pt>
                <c:pt idx="6219">
                  <c:v>4.9305820855052251E-2</c:v>
                </c:pt>
                <c:pt idx="6220">
                  <c:v>5.1310183330536177E-2</c:v>
                </c:pt>
                <c:pt idx="6221">
                  <c:v>5.247957397679881E-2</c:v>
                </c:pt>
                <c:pt idx="6222">
                  <c:v>5.3710696198005864E-2</c:v>
                </c:pt>
                <c:pt idx="6223">
                  <c:v>5.4530515236501195E-2</c:v>
                </c:pt>
                <c:pt idx="6224">
                  <c:v>5.4741026411484747E-2</c:v>
                </c:pt>
                <c:pt idx="6225">
                  <c:v>5.3099984041448736E-2</c:v>
                </c:pt>
                <c:pt idx="6226">
                  <c:v>5.1428108879021217E-2</c:v>
                </c:pt>
                <c:pt idx="6227">
                  <c:v>5.0367514169806907E-2</c:v>
                </c:pt>
                <c:pt idx="6228">
                  <c:v>5.033048190102879E-2</c:v>
                </c:pt>
                <c:pt idx="6229">
                  <c:v>5.4665032672125122E-2</c:v>
                </c:pt>
                <c:pt idx="6230">
                  <c:v>5.7818888623248757E-2</c:v>
                </c:pt>
                <c:pt idx="6231">
                  <c:v>5.9078070438293218E-2</c:v>
                </c:pt>
                <c:pt idx="6232">
                  <c:v>6.9308685299302786E-2</c:v>
                </c:pt>
                <c:pt idx="6233">
                  <c:v>7.0130561507915773E-2</c:v>
                </c:pt>
                <c:pt idx="6234">
                  <c:v>7.0018803765516016E-2</c:v>
                </c:pt>
                <c:pt idx="6235">
                  <c:v>7.0903397246915176E-2</c:v>
                </c:pt>
                <c:pt idx="6236">
                  <c:v>7.2756117930395811E-2</c:v>
                </c:pt>
                <c:pt idx="6237">
                  <c:v>7.2357087984007751E-2</c:v>
                </c:pt>
                <c:pt idx="6238">
                  <c:v>7.6709343609945954E-2</c:v>
                </c:pt>
                <c:pt idx="6239">
                  <c:v>6.8404365592947089E-2</c:v>
                </c:pt>
                <c:pt idx="6240">
                  <c:v>6.7478204649716891E-2</c:v>
                </c:pt>
                <c:pt idx="6241">
                  <c:v>6.6978403249282989E-2</c:v>
                </c:pt>
                <c:pt idx="6242">
                  <c:v>6.5590399728940083E-2</c:v>
                </c:pt>
                <c:pt idx="6243">
                  <c:v>6.4626862013310374E-2</c:v>
                </c:pt>
                <c:pt idx="6244">
                  <c:v>6.6028112735926153E-2</c:v>
                </c:pt>
                <c:pt idx="6245">
                  <c:v>6.5513342357800181E-2</c:v>
                </c:pt>
                <c:pt idx="6246">
                  <c:v>6.5730503474439761E-2</c:v>
                </c:pt>
                <c:pt idx="6247">
                  <c:v>6.6889877275831219E-2</c:v>
                </c:pt>
                <c:pt idx="6248">
                  <c:v>7.1427858597378255E-2</c:v>
                </c:pt>
                <c:pt idx="6249">
                  <c:v>7.0603288000506109E-2</c:v>
                </c:pt>
                <c:pt idx="6250">
                  <c:v>6.9513189004827988E-2</c:v>
                </c:pt>
                <c:pt idx="6251">
                  <c:v>7.0037851182121066E-2</c:v>
                </c:pt>
                <c:pt idx="6252">
                  <c:v>6.9662344288376296E-2</c:v>
                </c:pt>
                <c:pt idx="6253">
                  <c:v>7.0872510726615323E-2</c:v>
                </c:pt>
                <c:pt idx="6254">
                  <c:v>6.9542290772038148E-2</c:v>
                </c:pt>
                <c:pt idx="6255">
                  <c:v>7.1485475527667403E-2</c:v>
                </c:pt>
                <c:pt idx="6256">
                  <c:v>7.4000430536681039E-2</c:v>
                </c:pt>
                <c:pt idx="6257">
                  <c:v>7.955494995725422E-2</c:v>
                </c:pt>
                <c:pt idx="6258">
                  <c:v>8.4494299489148966E-2</c:v>
                </c:pt>
                <c:pt idx="6259">
                  <c:v>8.3485559303647511E-2</c:v>
                </c:pt>
                <c:pt idx="6260">
                  <c:v>8.2258940616961235E-2</c:v>
                </c:pt>
                <c:pt idx="6261">
                  <c:v>8.1911587861215523E-2</c:v>
                </c:pt>
                <c:pt idx="6262">
                  <c:v>7.5637418976839205E-2</c:v>
                </c:pt>
                <c:pt idx="6263">
                  <c:v>7.6803282963879366E-2</c:v>
                </c:pt>
                <c:pt idx="6264">
                  <c:v>7.7058265919504862E-2</c:v>
                </c:pt>
                <c:pt idx="6265">
                  <c:v>7.5981222730290537E-2</c:v>
                </c:pt>
                <c:pt idx="6266">
                  <c:v>7.4303715508193438E-2</c:v>
                </c:pt>
                <c:pt idx="6267">
                  <c:v>7.5563864807520587E-2</c:v>
                </c:pt>
                <c:pt idx="6268">
                  <c:v>6.949489183296087E-2</c:v>
                </c:pt>
                <c:pt idx="6269">
                  <c:v>6.9479445864801384E-2</c:v>
                </c:pt>
                <c:pt idx="6270">
                  <c:v>7.4229079410551554E-2</c:v>
                </c:pt>
                <c:pt idx="6271">
                  <c:v>7.4638421178431363E-2</c:v>
                </c:pt>
                <c:pt idx="6272">
                  <c:v>7.4661742960274433E-2</c:v>
                </c:pt>
                <c:pt idx="6273">
                  <c:v>7.4394042907616545E-2</c:v>
                </c:pt>
                <c:pt idx="6274">
                  <c:v>7.4391596632903789E-2</c:v>
                </c:pt>
                <c:pt idx="6275">
                  <c:v>7.3656163737537889E-2</c:v>
                </c:pt>
                <c:pt idx="6276">
                  <c:v>9.2525826110951004E-2</c:v>
                </c:pt>
                <c:pt idx="6277">
                  <c:v>9.1217203325172677E-2</c:v>
                </c:pt>
                <c:pt idx="6278">
                  <c:v>8.6366325905604183E-2</c:v>
                </c:pt>
                <c:pt idx="6279">
                  <c:v>8.3909085401629974E-2</c:v>
                </c:pt>
                <c:pt idx="6280">
                  <c:v>8.3727243333021395E-2</c:v>
                </c:pt>
                <c:pt idx="6281">
                  <c:v>8.3727453486125827E-2</c:v>
                </c:pt>
                <c:pt idx="6282">
                  <c:v>8.3624112278124538E-2</c:v>
                </c:pt>
                <c:pt idx="6283">
                  <c:v>8.2004327288314208E-2</c:v>
                </c:pt>
                <c:pt idx="6284">
                  <c:v>8.1888417967474592E-2</c:v>
                </c:pt>
                <c:pt idx="6285">
                  <c:v>8.0950531801970829E-2</c:v>
                </c:pt>
                <c:pt idx="6286">
                  <c:v>7.9662377509341409E-2</c:v>
                </c:pt>
                <c:pt idx="6287">
                  <c:v>7.8661138315567689E-2</c:v>
                </c:pt>
                <c:pt idx="6288">
                  <c:v>7.5911811511092817E-2</c:v>
                </c:pt>
                <c:pt idx="6289">
                  <c:v>7.4810096420685424E-2</c:v>
                </c:pt>
                <c:pt idx="6290">
                  <c:v>7.4068155235652203E-2</c:v>
                </c:pt>
                <c:pt idx="6291">
                  <c:v>7.7285153854387639E-2</c:v>
                </c:pt>
                <c:pt idx="6292">
                  <c:v>7.592199202338018E-2</c:v>
                </c:pt>
                <c:pt idx="6293">
                  <c:v>7.6872559529913578E-2</c:v>
                </c:pt>
                <c:pt idx="6294">
                  <c:v>7.8108514829190567E-2</c:v>
                </c:pt>
                <c:pt idx="6295">
                  <c:v>7.8163270560124148E-2</c:v>
                </c:pt>
                <c:pt idx="6296">
                  <c:v>7.9705307580960338E-2</c:v>
                </c:pt>
                <c:pt idx="6297">
                  <c:v>7.9273319331830419E-2</c:v>
                </c:pt>
                <c:pt idx="6298">
                  <c:v>7.9287904694946787E-2</c:v>
                </c:pt>
                <c:pt idx="6299">
                  <c:v>0.10724518670054783</c:v>
                </c:pt>
                <c:pt idx="6300">
                  <c:v>0.1273349771302858</c:v>
                </c:pt>
                <c:pt idx="6301">
                  <c:v>0.13526792407070362</c:v>
                </c:pt>
                <c:pt idx="6302">
                  <c:v>0.1406351660361822</c:v>
                </c:pt>
                <c:pt idx="6303">
                  <c:v>0.14458795395977289</c:v>
                </c:pt>
                <c:pt idx="6304">
                  <c:v>0.14468851653480352</c:v>
                </c:pt>
                <c:pt idx="6305">
                  <c:v>0.1440946593607105</c:v>
                </c:pt>
                <c:pt idx="6306">
                  <c:v>0.13566283998828321</c:v>
                </c:pt>
                <c:pt idx="6307">
                  <c:v>0.13568829215255734</c:v>
                </c:pt>
                <c:pt idx="6308">
                  <c:v>0.13562669385520093</c:v>
                </c:pt>
                <c:pt idx="6309">
                  <c:v>0.13320528591199052</c:v>
                </c:pt>
                <c:pt idx="6310">
                  <c:v>0.13240233303368168</c:v>
                </c:pt>
                <c:pt idx="6311">
                  <c:v>0.1322334985434549</c:v>
                </c:pt>
                <c:pt idx="6312">
                  <c:v>0.13184386020675609</c:v>
                </c:pt>
                <c:pt idx="6313">
                  <c:v>0.13238036662474126</c:v>
                </c:pt>
                <c:pt idx="6314">
                  <c:v>0.13453563473702376</c:v>
                </c:pt>
                <c:pt idx="6315">
                  <c:v>0.13583175440767539</c:v>
                </c:pt>
                <c:pt idx="6316">
                  <c:v>0.13685836251708325</c:v>
                </c:pt>
                <c:pt idx="6317">
                  <c:v>0.13781990522837592</c:v>
                </c:pt>
                <c:pt idx="6318">
                  <c:v>0.13697095401655596</c:v>
                </c:pt>
                <c:pt idx="6319">
                  <c:v>0.13651575035465599</c:v>
                </c:pt>
                <c:pt idx="6320">
                  <c:v>0.13532567531123016</c:v>
                </c:pt>
                <c:pt idx="6321">
                  <c:v>0.13506232455981737</c:v>
                </c:pt>
                <c:pt idx="6322">
                  <c:v>0.13562964876174385</c:v>
                </c:pt>
                <c:pt idx="6323">
                  <c:v>0.13564991858908459</c:v>
                </c:pt>
                <c:pt idx="6324">
                  <c:v>0.13558404425386081</c:v>
                </c:pt>
                <c:pt idx="6325">
                  <c:v>0.13507157587016377</c:v>
                </c:pt>
                <c:pt idx="6326">
                  <c:v>0.13358196043088066</c:v>
                </c:pt>
                <c:pt idx="6327">
                  <c:v>0.13326254758798384</c:v>
                </c:pt>
                <c:pt idx="6328">
                  <c:v>0.1340787672440929</c:v>
                </c:pt>
                <c:pt idx="6329">
                  <c:v>0.11796606065820407</c:v>
                </c:pt>
                <c:pt idx="6330">
                  <c:v>9.5248873409883639E-2</c:v>
                </c:pt>
                <c:pt idx="6331">
                  <c:v>9.7109743626840994E-2</c:v>
                </c:pt>
                <c:pt idx="6332">
                  <c:v>9.8012178915571388E-2</c:v>
                </c:pt>
                <c:pt idx="6333">
                  <c:v>8.9913110117780359E-2</c:v>
                </c:pt>
                <c:pt idx="6334">
                  <c:v>8.3781675572310477E-2</c:v>
                </c:pt>
                <c:pt idx="6335">
                  <c:v>8.418891575097083E-2</c:v>
                </c:pt>
                <c:pt idx="6336">
                  <c:v>8.4191950483063674E-2</c:v>
                </c:pt>
                <c:pt idx="6337">
                  <c:v>8.4056122077827672E-2</c:v>
                </c:pt>
                <c:pt idx="6338">
                  <c:v>8.4194547141173137E-2</c:v>
                </c:pt>
                <c:pt idx="6339">
                  <c:v>8.3857537284669756E-2</c:v>
                </c:pt>
                <c:pt idx="6340">
                  <c:v>8.2382245960663264E-2</c:v>
                </c:pt>
                <c:pt idx="6341">
                  <c:v>8.1765727698442314E-2</c:v>
                </c:pt>
                <c:pt idx="6342">
                  <c:v>8.1784867634417419E-2</c:v>
                </c:pt>
                <c:pt idx="6343">
                  <c:v>8.1981479431391349E-2</c:v>
                </c:pt>
                <c:pt idx="6344">
                  <c:v>8.1011832367265293E-2</c:v>
                </c:pt>
                <c:pt idx="6345">
                  <c:v>8.1027423921529923E-2</c:v>
                </c:pt>
                <c:pt idx="6346">
                  <c:v>8.1828002419072357E-2</c:v>
                </c:pt>
                <c:pt idx="6347">
                  <c:v>8.0513075061251188E-2</c:v>
                </c:pt>
                <c:pt idx="6348">
                  <c:v>7.9860485902521358E-2</c:v>
                </c:pt>
                <c:pt idx="6349">
                  <c:v>8.1202227942122826E-2</c:v>
                </c:pt>
                <c:pt idx="6350">
                  <c:v>8.1190394780875405E-2</c:v>
                </c:pt>
                <c:pt idx="6351">
                  <c:v>8.138968808945371E-2</c:v>
                </c:pt>
                <c:pt idx="6352">
                  <c:v>8.1536674120880365E-2</c:v>
                </c:pt>
                <c:pt idx="6353">
                  <c:v>8.2798100029416496E-2</c:v>
                </c:pt>
                <c:pt idx="6354">
                  <c:v>8.203478660072791E-2</c:v>
                </c:pt>
                <c:pt idx="6355">
                  <c:v>8.4746543715188513E-2</c:v>
                </c:pt>
                <c:pt idx="6356">
                  <c:v>8.4604940389130481E-2</c:v>
                </c:pt>
                <c:pt idx="6357">
                  <c:v>8.4121243339572965E-2</c:v>
                </c:pt>
                <c:pt idx="6358">
                  <c:v>8.4203533016127208E-2</c:v>
                </c:pt>
                <c:pt idx="6359">
                  <c:v>8.3627177789017557E-2</c:v>
                </c:pt>
                <c:pt idx="6360">
                  <c:v>8.2916033004383077E-2</c:v>
                </c:pt>
                <c:pt idx="6361">
                  <c:v>6.2529011025430833E-2</c:v>
                </c:pt>
                <c:pt idx="6362">
                  <c:v>4.1799894011208712E-2</c:v>
                </c:pt>
                <c:pt idx="6363">
                  <c:v>3.2427037145280169E-2</c:v>
                </c:pt>
                <c:pt idx="6364">
                  <c:v>2.7474737996749793E-2</c:v>
                </c:pt>
                <c:pt idx="6365">
                  <c:v>2.6854852494057321E-2</c:v>
                </c:pt>
                <c:pt idx="6366">
                  <c:v>2.524483742369512E-2</c:v>
                </c:pt>
                <c:pt idx="6367">
                  <c:v>2.3892123211969846E-2</c:v>
                </c:pt>
                <c:pt idx="6368">
                  <c:v>2.262929677382846E-2</c:v>
                </c:pt>
                <c:pt idx="6369">
                  <c:v>2.1478889617614072E-2</c:v>
                </c:pt>
                <c:pt idx="6370">
                  <c:v>2.0643845656773879E-2</c:v>
                </c:pt>
                <c:pt idx="6371">
                  <c:v>2.0075100478933877E-2</c:v>
                </c:pt>
                <c:pt idx="6372">
                  <c:v>1.897924512227224E-2</c:v>
                </c:pt>
                <c:pt idx="6373">
                  <c:v>1.8541087380991486E-2</c:v>
                </c:pt>
                <c:pt idx="6374">
                  <c:v>1.8270757857015985E-2</c:v>
                </c:pt>
                <c:pt idx="6375">
                  <c:v>1.8521969914920867E-2</c:v>
                </c:pt>
                <c:pt idx="6376">
                  <c:v>1.2902146196312145E-2</c:v>
                </c:pt>
                <c:pt idx="6377">
                  <c:v>1.2932627221032953E-2</c:v>
                </c:pt>
                <c:pt idx="6378">
                  <c:v>1.2638981085539411E-2</c:v>
                </c:pt>
                <c:pt idx="6379">
                  <c:v>1.6048125729617779E-2</c:v>
                </c:pt>
                <c:pt idx="6380">
                  <c:v>1.6639199101863414E-2</c:v>
                </c:pt>
                <c:pt idx="6381">
                  <c:v>1.8354069753163053E-2</c:v>
                </c:pt>
                <c:pt idx="6382">
                  <c:v>2.2362662081587187E-2</c:v>
                </c:pt>
                <c:pt idx="6383">
                  <c:v>2.1818471046602943E-2</c:v>
                </c:pt>
                <c:pt idx="6384">
                  <c:v>2.1707293490481623E-2</c:v>
                </c:pt>
                <c:pt idx="6385">
                  <c:v>1.2185683877337062E-2</c:v>
                </c:pt>
                <c:pt idx="6386">
                  <c:v>1.159881773878642E-2</c:v>
                </c:pt>
                <c:pt idx="6387">
                  <c:v>1.1836394615221785E-2</c:v>
                </c:pt>
                <c:pt idx="6388">
                  <c:v>1.1750748270696535E-2</c:v>
                </c:pt>
                <c:pt idx="6389">
                  <c:v>1.1427995825017018E-2</c:v>
                </c:pt>
                <c:pt idx="6390">
                  <c:v>1.2025656954192684E-2</c:v>
                </c:pt>
                <c:pt idx="6391">
                  <c:v>1.1812925199281824E-2</c:v>
                </c:pt>
                <c:pt idx="6392">
                  <c:v>1.1555790818539744E-2</c:v>
                </c:pt>
                <c:pt idx="6393">
                  <c:v>1.0804060470334881E-2</c:v>
                </c:pt>
                <c:pt idx="6394">
                  <c:v>1.0855088389873162E-2</c:v>
                </c:pt>
                <c:pt idx="6395">
                  <c:v>1.0556679118932178E-2</c:v>
                </c:pt>
                <c:pt idx="6396">
                  <c:v>1.0912929124535719E-2</c:v>
                </c:pt>
                <c:pt idx="6397">
                  <c:v>1.1216309712273541E-2</c:v>
                </c:pt>
                <c:pt idx="6398">
                  <c:v>1.1582024434624047E-2</c:v>
                </c:pt>
                <c:pt idx="6399">
                  <c:v>1.2376009508633648E-2</c:v>
                </c:pt>
                <c:pt idx="6400">
                  <c:v>1.3224670812912434E-2</c:v>
                </c:pt>
                <c:pt idx="6401">
                  <c:v>1.403274802548629E-2</c:v>
                </c:pt>
                <c:pt idx="6402">
                  <c:v>1.4266115369591484E-2</c:v>
                </c:pt>
                <c:pt idx="6403">
                  <c:v>1.5263387786627421E-2</c:v>
                </c:pt>
                <c:pt idx="6404">
                  <c:v>1.6078288097025654E-2</c:v>
                </c:pt>
                <c:pt idx="6405">
                  <c:v>1.5704096729391812E-2</c:v>
                </c:pt>
                <c:pt idx="6406">
                  <c:v>1.4726754787834967E-2</c:v>
                </c:pt>
                <c:pt idx="6407">
                  <c:v>1.3980802826976642E-2</c:v>
                </c:pt>
                <c:pt idx="6408">
                  <c:v>1.4010471654570098E-2</c:v>
                </c:pt>
                <c:pt idx="6409">
                  <c:v>8.6646218867713152E-3</c:v>
                </c:pt>
                <c:pt idx="6410">
                  <c:v>8.3001372730906898E-3</c:v>
                </c:pt>
                <c:pt idx="6411">
                  <c:v>1.5460930660493519E-3</c:v>
                </c:pt>
                <c:pt idx="6412">
                  <c:v>-1.1633789686568316E-2</c:v>
                </c:pt>
                <c:pt idx="6413">
                  <c:v>-1.6034110760879031E-2</c:v>
                </c:pt>
                <c:pt idx="6414">
                  <c:v>-1.7018509990761582E-2</c:v>
                </c:pt>
                <c:pt idx="6415">
                  <c:v>-1.6966922304445346E-2</c:v>
                </c:pt>
                <c:pt idx="6416">
                  <c:v>-1.7758189834012714E-2</c:v>
                </c:pt>
                <c:pt idx="6417">
                  <c:v>-1.7589740317525551E-2</c:v>
                </c:pt>
                <c:pt idx="6418">
                  <c:v>-1.7403766790170958E-2</c:v>
                </c:pt>
                <c:pt idx="6419">
                  <c:v>-1.7103980449633252E-2</c:v>
                </c:pt>
                <c:pt idx="6420">
                  <c:v>-1.8629493096326652E-2</c:v>
                </c:pt>
                <c:pt idx="6421">
                  <c:v>-1.8323328605973421E-2</c:v>
                </c:pt>
                <c:pt idx="6422">
                  <c:v>-1.8427992522848775E-2</c:v>
                </c:pt>
                <c:pt idx="6423">
                  <c:v>-1.7973171949701241E-2</c:v>
                </c:pt>
                <c:pt idx="6424">
                  <c:v>-1.7447047556142126E-2</c:v>
                </c:pt>
                <c:pt idx="6425">
                  <c:v>-1.7345417853819337E-2</c:v>
                </c:pt>
                <c:pt idx="6426">
                  <c:v>-1.7346423772620655E-2</c:v>
                </c:pt>
                <c:pt idx="6427">
                  <c:v>-1.7295015606834517E-2</c:v>
                </c:pt>
                <c:pt idx="6428">
                  <c:v>-1.6922826389083753E-2</c:v>
                </c:pt>
                <c:pt idx="6429">
                  <c:v>-1.640768947052041E-2</c:v>
                </c:pt>
                <c:pt idx="6430">
                  <c:v>-1.6793951945370235E-2</c:v>
                </c:pt>
                <c:pt idx="6431">
                  <c:v>-1.737803328347224E-2</c:v>
                </c:pt>
                <c:pt idx="6432">
                  <c:v>-1.7915450150851268E-2</c:v>
                </c:pt>
                <c:pt idx="6433">
                  <c:v>-1.3675262067801754E-2</c:v>
                </c:pt>
                <c:pt idx="6434">
                  <c:v>-1.3138576748917476E-2</c:v>
                </c:pt>
                <c:pt idx="6435">
                  <c:v>-1.3434645208917281E-2</c:v>
                </c:pt>
                <c:pt idx="6436">
                  <c:v>-1.3468701622110613E-2</c:v>
                </c:pt>
                <c:pt idx="6437">
                  <c:v>-1.3486976064306964E-2</c:v>
                </c:pt>
                <c:pt idx="6438">
                  <c:v>-1.3630367826011057E-2</c:v>
                </c:pt>
                <c:pt idx="6439">
                  <c:v>2.5308596021062654E-2</c:v>
                </c:pt>
                <c:pt idx="6440">
                  <c:v>5.5821263122193904E-2</c:v>
                </c:pt>
                <c:pt idx="6441">
                  <c:v>6.821450291209652E-2</c:v>
                </c:pt>
                <c:pt idx="6442">
                  <c:v>7.1207535961815657E-2</c:v>
                </c:pt>
                <c:pt idx="6443">
                  <c:v>7.5999545987544034E-2</c:v>
                </c:pt>
                <c:pt idx="6444">
                  <c:v>7.8843499911972911E-2</c:v>
                </c:pt>
                <c:pt idx="6445">
                  <c:v>8.1937925731312311E-2</c:v>
                </c:pt>
                <c:pt idx="6446">
                  <c:v>8.190935816838725E-2</c:v>
                </c:pt>
                <c:pt idx="6447">
                  <c:v>8.3868941875614916E-2</c:v>
                </c:pt>
                <c:pt idx="6448">
                  <c:v>8.2733204577939159E-2</c:v>
                </c:pt>
                <c:pt idx="6449">
                  <c:v>8.2260786547918782E-2</c:v>
                </c:pt>
                <c:pt idx="6450">
                  <c:v>8.2332258570234129E-2</c:v>
                </c:pt>
                <c:pt idx="6451">
                  <c:v>8.217807329409095E-2</c:v>
                </c:pt>
                <c:pt idx="6452">
                  <c:v>8.2089382697869778E-2</c:v>
                </c:pt>
                <c:pt idx="6453">
                  <c:v>8.2169202775428579E-2</c:v>
                </c:pt>
                <c:pt idx="6454">
                  <c:v>8.1851358137758373E-2</c:v>
                </c:pt>
                <c:pt idx="6455">
                  <c:v>8.1471673300319777E-2</c:v>
                </c:pt>
                <c:pt idx="6456">
                  <c:v>8.1289593314277861E-2</c:v>
                </c:pt>
                <c:pt idx="6457">
                  <c:v>8.1276046844649105E-2</c:v>
                </c:pt>
                <c:pt idx="6458">
                  <c:v>8.1182652365706959E-2</c:v>
                </c:pt>
                <c:pt idx="6459">
                  <c:v>8.0716095360270954E-2</c:v>
                </c:pt>
                <c:pt idx="6460">
                  <c:v>8.0083031836619412E-2</c:v>
                </c:pt>
                <c:pt idx="6461">
                  <c:v>7.9834544879681321E-2</c:v>
                </c:pt>
                <c:pt idx="6462">
                  <c:v>7.9367567367939568E-2</c:v>
                </c:pt>
                <c:pt idx="6463">
                  <c:v>7.9858227595627537E-2</c:v>
                </c:pt>
                <c:pt idx="6464">
                  <c:v>7.9463707422424645E-2</c:v>
                </c:pt>
                <c:pt idx="6465">
                  <c:v>7.992639843215045E-2</c:v>
                </c:pt>
                <c:pt idx="6466">
                  <c:v>8.0471159130106482E-2</c:v>
                </c:pt>
                <c:pt idx="6467">
                  <c:v>8.1755315797002501E-2</c:v>
                </c:pt>
                <c:pt idx="6468">
                  <c:v>8.302979239138164E-2</c:v>
                </c:pt>
                <c:pt idx="6469">
                  <c:v>7.7094709643878892E-2</c:v>
                </c:pt>
                <c:pt idx="6470">
                  <c:v>7.2056568818849559E-2</c:v>
                </c:pt>
                <c:pt idx="6471">
                  <c:v>9.1803024001902392E-2</c:v>
                </c:pt>
                <c:pt idx="6472">
                  <c:v>0.13199701634181221</c:v>
                </c:pt>
                <c:pt idx="6473">
                  <c:v>0.14995881297769573</c:v>
                </c:pt>
                <c:pt idx="6474">
                  <c:v>0.15509653601373646</c:v>
                </c:pt>
                <c:pt idx="6475">
                  <c:v>0.15515775611650012</c:v>
                </c:pt>
                <c:pt idx="6476">
                  <c:v>0.15370016709148754</c:v>
                </c:pt>
                <c:pt idx="6477">
                  <c:v>0.15295046494064615</c:v>
                </c:pt>
                <c:pt idx="6478">
                  <c:v>0.15333459542352801</c:v>
                </c:pt>
                <c:pt idx="6479">
                  <c:v>0.15317832429150979</c:v>
                </c:pt>
                <c:pt idx="6480">
                  <c:v>0.1525659254260234</c:v>
                </c:pt>
                <c:pt idx="6481">
                  <c:v>0.15150245117662348</c:v>
                </c:pt>
                <c:pt idx="6482">
                  <c:v>0.15183784015438406</c:v>
                </c:pt>
                <c:pt idx="6483">
                  <c:v>0.15121448635691026</c:v>
                </c:pt>
                <c:pt idx="6484">
                  <c:v>0.15147430776045478</c:v>
                </c:pt>
                <c:pt idx="6485">
                  <c:v>0.15160112132390033</c:v>
                </c:pt>
                <c:pt idx="6486">
                  <c:v>0.15098059487028151</c:v>
                </c:pt>
                <c:pt idx="6487">
                  <c:v>0.15101151653055428</c:v>
                </c:pt>
                <c:pt idx="6488">
                  <c:v>0.15045747459723458</c:v>
                </c:pt>
                <c:pt idx="6489">
                  <c:v>0.15107431349017952</c:v>
                </c:pt>
                <c:pt idx="6490">
                  <c:v>0.1509859911179858</c:v>
                </c:pt>
                <c:pt idx="6491">
                  <c:v>0.15238023864701539</c:v>
                </c:pt>
                <c:pt idx="6492">
                  <c:v>0.15418519168601408</c:v>
                </c:pt>
                <c:pt idx="6493">
                  <c:v>0.15585840416209584</c:v>
                </c:pt>
                <c:pt idx="6494">
                  <c:v>0.15626527802195678</c:v>
                </c:pt>
                <c:pt idx="6495">
                  <c:v>0.1574554132252782</c:v>
                </c:pt>
                <c:pt idx="6496">
                  <c:v>0.15700851676948957</c:v>
                </c:pt>
                <c:pt idx="6497">
                  <c:v>0.15530364051147785</c:v>
                </c:pt>
                <c:pt idx="6498">
                  <c:v>0.1610922394411746</c:v>
                </c:pt>
                <c:pt idx="6499">
                  <c:v>0.16423806255143786</c:v>
                </c:pt>
                <c:pt idx="6500">
                  <c:v>0.16632938114400075</c:v>
                </c:pt>
                <c:pt idx="6501">
                  <c:v>0.15515579809952848</c:v>
                </c:pt>
                <c:pt idx="6502">
                  <c:v>0.12521663434057947</c:v>
                </c:pt>
                <c:pt idx="6503">
                  <c:v>0.10087522602229804</c:v>
                </c:pt>
                <c:pt idx="6504">
                  <c:v>9.02955607805115E-2</c:v>
                </c:pt>
                <c:pt idx="6505">
                  <c:v>8.7178309355177855E-2</c:v>
                </c:pt>
                <c:pt idx="6506">
                  <c:v>8.7058072619751722E-2</c:v>
                </c:pt>
                <c:pt idx="6507">
                  <c:v>8.7991175920510645E-2</c:v>
                </c:pt>
                <c:pt idx="6508">
                  <c:v>8.9138928333284781E-2</c:v>
                </c:pt>
                <c:pt idx="6509">
                  <c:v>8.9942187891759062E-2</c:v>
                </c:pt>
                <c:pt idx="6510">
                  <c:v>8.5812158236466193E-2</c:v>
                </c:pt>
                <c:pt idx="6511">
                  <c:v>8.2889146583055476E-2</c:v>
                </c:pt>
                <c:pt idx="6512">
                  <c:v>7.984919633641048E-2</c:v>
                </c:pt>
                <c:pt idx="6513">
                  <c:v>7.9357553171823525E-2</c:v>
                </c:pt>
                <c:pt idx="6514">
                  <c:v>7.5935847901670558E-2</c:v>
                </c:pt>
                <c:pt idx="6515">
                  <c:v>7.2894008455850187E-2</c:v>
                </c:pt>
                <c:pt idx="6516">
                  <c:v>7.1972671095255639E-2</c:v>
                </c:pt>
                <c:pt idx="6517">
                  <c:v>7.1983669940064776E-2</c:v>
                </c:pt>
                <c:pt idx="6518">
                  <c:v>7.2349547032749331E-2</c:v>
                </c:pt>
                <c:pt idx="6519">
                  <c:v>7.2247059949815909E-2</c:v>
                </c:pt>
                <c:pt idx="6520">
                  <c:v>7.2338353752189291E-2</c:v>
                </c:pt>
                <c:pt idx="6521">
                  <c:v>7.149991722264358E-2</c:v>
                </c:pt>
                <c:pt idx="6522">
                  <c:v>7.1399549573661833E-2</c:v>
                </c:pt>
                <c:pt idx="6523">
                  <c:v>7.1544704951979524E-2</c:v>
                </c:pt>
                <c:pt idx="6524">
                  <c:v>7.1948224486495252E-2</c:v>
                </c:pt>
                <c:pt idx="6525">
                  <c:v>7.1700486959848334E-2</c:v>
                </c:pt>
                <c:pt idx="6526">
                  <c:v>7.208253860959099E-2</c:v>
                </c:pt>
                <c:pt idx="6527">
                  <c:v>7.0232556566474272E-2</c:v>
                </c:pt>
                <c:pt idx="6528">
                  <c:v>4.0085117895830288E-2</c:v>
                </c:pt>
                <c:pt idx="6529">
                  <c:v>1.8677978505864196E-2</c:v>
                </c:pt>
                <c:pt idx="6530">
                  <c:v>-1.5587315085086994E-3</c:v>
                </c:pt>
                <c:pt idx="6531">
                  <c:v>-3.0644651001080787E-3</c:v>
                </c:pt>
                <c:pt idx="6532">
                  <c:v>-2.9182193189700428E-3</c:v>
                </c:pt>
                <c:pt idx="6533">
                  <c:v>-2.5146032906163841E-3</c:v>
                </c:pt>
                <c:pt idx="6534">
                  <c:v>-5.0083886825634909E-3</c:v>
                </c:pt>
                <c:pt idx="6535">
                  <c:v>-9.1789037501013859E-3</c:v>
                </c:pt>
                <c:pt idx="6536">
                  <c:v>-1.2861064352867664E-2</c:v>
                </c:pt>
                <c:pt idx="6537">
                  <c:v>-1.0928779208526633E-2</c:v>
                </c:pt>
                <c:pt idx="6538">
                  <c:v>-9.2155327379385941E-3</c:v>
                </c:pt>
                <c:pt idx="6539">
                  <c:v>-6.3952176929573867E-3</c:v>
                </c:pt>
                <c:pt idx="6540">
                  <c:v>-5.8567162400189063E-3</c:v>
                </c:pt>
                <c:pt idx="6541">
                  <c:v>-5.8684413563486349E-3</c:v>
                </c:pt>
                <c:pt idx="6542">
                  <c:v>-5.6805865027246662E-3</c:v>
                </c:pt>
                <c:pt idx="6543">
                  <c:v>-5.8087585841695051E-3</c:v>
                </c:pt>
                <c:pt idx="6544">
                  <c:v>-5.7019661878327512E-3</c:v>
                </c:pt>
                <c:pt idx="6545">
                  <c:v>-5.7714726211690482E-3</c:v>
                </c:pt>
                <c:pt idx="6546">
                  <c:v>-5.5714045474074096E-3</c:v>
                </c:pt>
                <c:pt idx="6547">
                  <c:v>-4.7250417678819778E-3</c:v>
                </c:pt>
                <c:pt idx="6548">
                  <c:v>-3.4195454008026319E-3</c:v>
                </c:pt>
                <c:pt idx="6549">
                  <c:v>-1.591656743075695E-3</c:v>
                </c:pt>
                <c:pt idx="6550">
                  <c:v>-1.1655042387057769E-3</c:v>
                </c:pt>
                <c:pt idx="6551">
                  <c:v>-2.857077143929734E-3</c:v>
                </c:pt>
                <c:pt idx="6552">
                  <c:v>-3.5572916945638671E-3</c:v>
                </c:pt>
                <c:pt idx="6553">
                  <c:v>-5.5180855411950842E-3</c:v>
                </c:pt>
                <c:pt idx="6554">
                  <c:v>-7.7801436682410994E-3</c:v>
                </c:pt>
                <c:pt idx="6555">
                  <c:v>-9.37132770227086E-3</c:v>
                </c:pt>
                <c:pt idx="6556">
                  <c:v>-9.8837341368433335E-3</c:v>
                </c:pt>
                <c:pt idx="6557">
                  <c:v>-1.0205713435487878E-2</c:v>
                </c:pt>
                <c:pt idx="6558">
                  <c:v>-1.086657989573934E-2</c:v>
                </c:pt>
                <c:pt idx="6559">
                  <c:v>-1.0669384747140112E-2</c:v>
                </c:pt>
                <c:pt idx="6560">
                  <c:v>-1.0700257815970881E-2</c:v>
                </c:pt>
                <c:pt idx="6561">
                  <c:v>-1.1185189042582996E-2</c:v>
                </c:pt>
                <c:pt idx="6562">
                  <c:v>-1.1121175579862206E-2</c:v>
                </c:pt>
                <c:pt idx="6563">
                  <c:v>-1.1122694713509068E-2</c:v>
                </c:pt>
                <c:pt idx="6564">
                  <c:v>-1.1114335586894177E-2</c:v>
                </c:pt>
                <c:pt idx="6565">
                  <c:v>-1.1141183564583346E-2</c:v>
                </c:pt>
                <c:pt idx="6566">
                  <c:v>-1.1146289241536534E-2</c:v>
                </c:pt>
                <c:pt idx="6567">
                  <c:v>-1.1125652486647312E-2</c:v>
                </c:pt>
                <c:pt idx="6568">
                  <c:v>-1.0681081077439102E-2</c:v>
                </c:pt>
                <c:pt idx="6569">
                  <c:v>-1.0350811574037607E-2</c:v>
                </c:pt>
                <c:pt idx="6570">
                  <c:v>1.6843434547948601E-2</c:v>
                </c:pt>
                <c:pt idx="6571">
                  <c:v>2.5869309426338749E-2</c:v>
                </c:pt>
                <c:pt idx="6572">
                  <c:v>2.4911244909568815E-2</c:v>
                </c:pt>
                <c:pt idx="6573">
                  <c:v>2.4338906228681012E-2</c:v>
                </c:pt>
                <c:pt idx="6574">
                  <c:v>2.3816586681937077E-2</c:v>
                </c:pt>
                <c:pt idx="6575">
                  <c:v>2.3369866308103324E-2</c:v>
                </c:pt>
                <c:pt idx="6576">
                  <c:v>2.3461541453353635E-2</c:v>
                </c:pt>
                <c:pt idx="6577">
                  <c:v>2.3190144396136231E-2</c:v>
                </c:pt>
                <c:pt idx="6578">
                  <c:v>2.2967363572767636E-2</c:v>
                </c:pt>
                <c:pt idx="6579">
                  <c:v>2.3153178426961414E-2</c:v>
                </c:pt>
                <c:pt idx="6580">
                  <c:v>2.2851974351265431E-2</c:v>
                </c:pt>
                <c:pt idx="6581">
                  <c:v>2.2472097291759183E-2</c:v>
                </c:pt>
                <c:pt idx="6582">
                  <c:v>2.8889857385858246E-2</c:v>
                </c:pt>
                <c:pt idx="6583">
                  <c:v>2.9010758335982073E-2</c:v>
                </c:pt>
                <c:pt idx="6584">
                  <c:v>2.9301251076093993E-2</c:v>
                </c:pt>
                <c:pt idx="6585">
                  <c:v>2.9132916019991781E-2</c:v>
                </c:pt>
                <c:pt idx="6586">
                  <c:v>2.8577774123692043E-2</c:v>
                </c:pt>
                <c:pt idx="6587">
                  <c:v>2.833279622514609E-2</c:v>
                </c:pt>
                <c:pt idx="6588">
                  <c:v>2.8445621482337508E-2</c:v>
                </c:pt>
                <c:pt idx="6589">
                  <c:v>2.8843548305867495E-2</c:v>
                </c:pt>
                <c:pt idx="6590">
                  <c:v>2.9405189122173339E-2</c:v>
                </c:pt>
                <c:pt idx="6591">
                  <c:v>2.9986290910258354E-2</c:v>
                </c:pt>
                <c:pt idx="6592">
                  <c:v>3.0566709198675712E-2</c:v>
                </c:pt>
                <c:pt idx="6593">
                  <c:v>3.0394759114650782E-2</c:v>
                </c:pt>
                <c:pt idx="6594">
                  <c:v>3.0453390682209723E-2</c:v>
                </c:pt>
                <c:pt idx="6595">
                  <c:v>3.046794807445239E-2</c:v>
                </c:pt>
                <c:pt idx="6596">
                  <c:v>3.0455343848610109E-2</c:v>
                </c:pt>
                <c:pt idx="6597">
                  <c:v>3.00912310458223E-2</c:v>
                </c:pt>
                <c:pt idx="6598">
                  <c:v>2.96626830188002E-2</c:v>
                </c:pt>
                <c:pt idx="6599">
                  <c:v>2.9287323117783676E-2</c:v>
                </c:pt>
                <c:pt idx="6600">
                  <c:v>1.4783817188474943E-2</c:v>
                </c:pt>
                <c:pt idx="6601">
                  <c:v>3.0667891043017047E-3</c:v>
                </c:pt>
                <c:pt idx="6602">
                  <c:v>2.5553594149255784E-3</c:v>
                </c:pt>
                <c:pt idx="6603">
                  <c:v>2.3612916935500539E-3</c:v>
                </c:pt>
                <c:pt idx="6604">
                  <c:v>2.3377484580198362E-3</c:v>
                </c:pt>
                <c:pt idx="6605">
                  <c:v>2.2957273563119791E-3</c:v>
                </c:pt>
                <c:pt idx="6606">
                  <c:v>2.0544663329358451E-3</c:v>
                </c:pt>
                <c:pt idx="6607">
                  <c:v>2.4770697168508497E-3</c:v>
                </c:pt>
                <c:pt idx="6608">
                  <c:v>2.5320415538637678E-3</c:v>
                </c:pt>
                <c:pt idx="6609">
                  <c:v>1.6918154996340851E-3</c:v>
                </c:pt>
                <c:pt idx="6610">
                  <c:v>1.6853202113717245E-3</c:v>
                </c:pt>
                <c:pt idx="6611">
                  <c:v>1.9946444747379662E-3</c:v>
                </c:pt>
                <c:pt idx="6612">
                  <c:v>-1.697383073633655E-2</c:v>
                </c:pt>
                <c:pt idx="6613">
                  <c:v>-1.6493421018197979E-2</c:v>
                </c:pt>
                <c:pt idx="6614">
                  <c:v>-1.6661642932093271E-2</c:v>
                </c:pt>
                <c:pt idx="6615">
                  <c:v>-1.7483602001184886E-2</c:v>
                </c:pt>
                <c:pt idx="6616">
                  <c:v>-1.7023860004845237E-2</c:v>
                </c:pt>
                <c:pt idx="6617">
                  <c:v>-1.581054152530665E-2</c:v>
                </c:pt>
                <c:pt idx="6618">
                  <c:v>-1.5440208670142536E-2</c:v>
                </c:pt>
                <c:pt idx="6619">
                  <c:v>-1.4326520920769839E-2</c:v>
                </c:pt>
                <c:pt idx="6620">
                  <c:v>-9.0255435804493887E-3</c:v>
                </c:pt>
                <c:pt idx="6621">
                  <c:v>-8.5872482299323982E-3</c:v>
                </c:pt>
                <c:pt idx="6622">
                  <c:v>2.2199100349263971E-3</c:v>
                </c:pt>
                <c:pt idx="6623">
                  <c:v>3.2121505757489427E-2</c:v>
                </c:pt>
                <c:pt idx="6624">
                  <c:v>5.0250733737933206E-2</c:v>
                </c:pt>
                <c:pt idx="6625">
                  <c:v>5.9394810314595481E-2</c:v>
                </c:pt>
                <c:pt idx="6626">
                  <c:v>6.6938781863135746E-2</c:v>
                </c:pt>
                <c:pt idx="6627">
                  <c:v>6.6885871343121447E-2</c:v>
                </c:pt>
                <c:pt idx="6628">
                  <c:v>6.6249892556394366E-2</c:v>
                </c:pt>
                <c:pt idx="6629">
                  <c:v>6.5164881812496231E-2</c:v>
                </c:pt>
                <c:pt idx="6630">
                  <c:v>6.5356253564550826E-2</c:v>
                </c:pt>
                <c:pt idx="6631">
                  <c:v>6.5494233038391983E-2</c:v>
                </c:pt>
                <c:pt idx="6632">
                  <c:v>6.5163191321621877E-2</c:v>
                </c:pt>
                <c:pt idx="6633">
                  <c:v>6.4551128989846954E-2</c:v>
                </c:pt>
                <c:pt idx="6634">
                  <c:v>6.4976632993859987E-2</c:v>
                </c:pt>
                <c:pt idx="6635">
                  <c:v>6.5846446341012416E-2</c:v>
                </c:pt>
                <c:pt idx="6636">
                  <c:v>6.6655474894263669E-2</c:v>
                </c:pt>
                <c:pt idx="6637">
                  <c:v>6.6663273116214783E-2</c:v>
                </c:pt>
                <c:pt idx="6638">
                  <c:v>6.7119155590323248E-2</c:v>
                </c:pt>
                <c:pt idx="6639">
                  <c:v>6.7518965991985799E-2</c:v>
                </c:pt>
                <c:pt idx="6640">
                  <c:v>6.8343458773943364E-2</c:v>
                </c:pt>
                <c:pt idx="6641">
                  <c:v>6.8124381131227707E-2</c:v>
                </c:pt>
                <c:pt idx="6642">
                  <c:v>6.7724171016096041E-2</c:v>
                </c:pt>
                <c:pt idx="6643">
                  <c:v>6.7457621832982165E-2</c:v>
                </c:pt>
                <c:pt idx="6644">
                  <c:v>6.7435806986313407E-2</c:v>
                </c:pt>
                <c:pt idx="6645">
                  <c:v>6.7191510207194896E-2</c:v>
                </c:pt>
                <c:pt idx="6646">
                  <c:v>6.6920168648319109E-2</c:v>
                </c:pt>
                <c:pt idx="6647">
                  <c:v>6.6492296590240516E-2</c:v>
                </c:pt>
                <c:pt idx="6648">
                  <c:v>6.6686669754671829E-2</c:v>
                </c:pt>
                <c:pt idx="6649">
                  <c:v>6.6326577033601689E-2</c:v>
                </c:pt>
                <c:pt idx="6650">
                  <c:v>6.6994788763236723E-2</c:v>
                </c:pt>
                <c:pt idx="6651">
                  <c:v>6.7302667040424646E-2</c:v>
                </c:pt>
                <c:pt idx="6652">
                  <c:v>6.6529521067190622E-2</c:v>
                </c:pt>
                <c:pt idx="6653">
                  <c:v>5.7064357844464411E-2</c:v>
                </c:pt>
                <c:pt idx="6654">
                  <c:v>4.5005353579148255E-2</c:v>
                </c:pt>
                <c:pt idx="6655">
                  <c:v>3.2464038830002401E-2</c:v>
                </c:pt>
                <c:pt idx="6656">
                  <c:v>2.0145068903869578E-2</c:v>
                </c:pt>
                <c:pt idx="6657">
                  <c:v>4.9979900282221393E-2</c:v>
                </c:pt>
                <c:pt idx="6658">
                  <c:v>6.3458912358602515E-2</c:v>
                </c:pt>
                <c:pt idx="6659">
                  <c:v>6.7880902664038761E-2</c:v>
                </c:pt>
                <c:pt idx="6660">
                  <c:v>6.8186982395764262E-2</c:v>
                </c:pt>
                <c:pt idx="6661">
                  <c:v>6.7554748496489694E-2</c:v>
                </c:pt>
                <c:pt idx="6662">
                  <c:v>6.7370976491809981E-2</c:v>
                </c:pt>
                <c:pt idx="6663">
                  <c:v>6.7419913828211969E-2</c:v>
                </c:pt>
                <c:pt idx="6664">
                  <c:v>6.7278168016002657E-2</c:v>
                </c:pt>
                <c:pt idx="6665">
                  <c:v>6.6664608179634988E-2</c:v>
                </c:pt>
                <c:pt idx="6666">
                  <c:v>6.6566822577356327E-2</c:v>
                </c:pt>
                <c:pt idx="6667">
                  <c:v>6.7510936731560861E-2</c:v>
                </c:pt>
                <c:pt idx="6668">
                  <c:v>6.8396907296142381E-2</c:v>
                </c:pt>
                <c:pt idx="6669">
                  <c:v>6.9509476942622564E-2</c:v>
                </c:pt>
                <c:pt idx="6670">
                  <c:v>6.9842458874409971E-2</c:v>
                </c:pt>
                <c:pt idx="6671">
                  <c:v>7.0655882016878641E-2</c:v>
                </c:pt>
                <c:pt idx="6672">
                  <c:v>7.0379201527003485E-2</c:v>
                </c:pt>
                <c:pt idx="6673">
                  <c:v>6.9441854967888059E-2</c:v>
                </c:pt>
                <c:pt idx="6674">
                  <c:v>6.9871897239820152E-2</c:v>
                </c:pt>
                <c:pt idx="6675">
                  <c:v>6.9865938777730882E-2</c:v>
                </c:pt>
                <c:pt idx="6676">
                  <c:v>7.2496251213563914E-2</c:v>
                </c:pt>
                <c:pt idx="6677">
                  <c:v>7.4600986663008656E-2</c:v>
                </c:pt>
                <c:pt idx="6678">
                  <c:v>7.4886861936440785E-2</c:v>
                </c:pt>
                <c:pt idx="6679">
                  <c:v>7.4140963090825684E-2</c:v>
                </c:pt>
                <c:pt idx="6680">
                  <c:v>7.3726797703254576E-2</c:v>
                </c:pt>
                <c:pt idx="6681">
                  <c:v>7.2394339244416628E-2</c:v>
                </c:pt>
                <c:pt idx="6682">
                  <c:v>7.2057123245831842E-2</c:v>
                </c:pt>
                <c:pt idx="6683">
                  <c:v>7.1885019484261375E-2</c:v>
                </c:pt>
                <c:pt idx="6684">
                  <c:v>7.1707767361661789E-2</c:v>
                </c:pt>
                <c:pt idx="6685">
                  <c:v>7.232086536522965E-2</c:v>
                </c:pt>
                <c:pt idx="6686">
                  <c:v>7.2922258435951334E-2</c:v>
                </c:pt>
                <c:pt idx="6687">
                  <c:v>5.6936886593399336E-2</c:v>
                </c:pt>
                <c:pt idx="6688">
                  <c:v>4.5202750371786046E-2</c:v>
                </c:pt>
                <c:pt idx="6689">
                  <c:v>3.9483317924374234E-2</c:v>
                </c:pt>
                <c:pt idx="6690">
                  <c:v>3.8769411109735794E-2</c:v>
                </c:pt>
                <c:pt idx="6691">
                  <c:v>3.9238802869144593E-2</c:v>
                </c:pt>
                <c:pt idx="6692">
                  <c:v>3.847630655065018E-2</c:v>
                </c:pt>
                <c:pt idx="6693">
                  <c:v>3.7908386876954789E-2</c:v>
                </c:pt>
                <c:pt idx="6694">
                  <c:v>3.723179678624304E-2</c:v>
                </c:pt>
                <c:pt idx="6695">
                  <c:v>3.7004505247866686E-2</c:v>
                </c:pt>
                <c:pt idx="6696">
                  <c:v>3.6867402343864507E-2</c:v>
                </c:pt>
                <c:pt idx="6697">
                  <c:v>4.0723712337887283E-2</c:v>
                </c:pt>
                <c:pt idx="6698">
                  <c:v>6.5375696377396195E-2</c:v>
                </c:pt>
                <c:pt idx="6699">
                  <c:v>8.324228087607087E-2</c:v>
                </c:pt>
                <c:pt idx="6700">
                  <c:v>9.2166166386942791E-2</c:v>
                </c:pt>
                <c:pt idx="6701">
                  <c:v>9.4174594109758314E-2</c:v>
                </c:pt>
                <c:pt idx="6702">
                  <c:v>9.4245952758803972E-2</c:v>
                </c:pt>
                <c:pt idx="6703">
                  <c:v>9.4159827768737533E-2</c:v>
                </c:pt>
                <c:pt idx="6704">
                  <c:v>9.3258020218704135E-2</c:v>
                </c:pt>
                <c:pt idx="6705">
                  <c:v>9.3266292196053979E-2</c:v>
                </c:pt>
                <c:pt idx="6706">
                  <c:v>9.3234425819627251E-2</c:v>
                </c:pt>
                <c:pt idx="6707">
                  <c:v>9.2041657970833801E-2</c:v>
                </c:pt>
                <c:pt idx="6708">
                  <c:v>9.2063408735670885E-2</c:v>
                </c:pt>
                <c:pt idx="6709">
                  <c:v>9.227291227321828E-2</c:v>
                </c:pt>
                <c:pt idx="6710">
                  <c:v>9.2736344231220569E-2</c:v>
                </c:pt>
                <c:pt idx="6711">
                  <c:v>9.4067952958379025E-2</c:v>
                </c:pt>
                <c:pt idx="6712">
                  <c:v>9.4632990396142591E-2</c:v>
                </c:pt>
                <c:pt idx="6713">
                  <c:v>9.5143402492217005E-2</c:v>
                </c:pt>
                <c:pt idx="6714">
                  <c:v>9.6415912658851799E-2</c:v>
                </c:pt>
                <c:pt idx="6715">
                  <c:v>9.9787332023326042E-2</c:v>
                </c:pt>
                <c:pt idx="6716">
                  <c:v>0.11536729131311534</c:v>
                </c:pt>
                <c:pt idx="6717">
                  <c:v>0.12457072631334605</c:v>
                </c:pt>
                <c:pt idx="6718">
                  <c:v>0.12594172205041276</c:v>
                </c:pt>
                <c:pt idx="6719">
                  <c:v>0.1255253225473153</c:v>
                </c:pt>
                <c:pt idx="6720">
                  <c:v>0.12379502300919711</c:v>
                </c:pt>
                <c:pt idx="6721">
                  <c:v>0.12305520753117756</c:v>
                </c:pt>
                <c:pt idx="6722">
                  <c:v>0.12452892672423206</c:v>
                </c:pt>
                <c:pt idx="6723">
                  <c:v>0.1262973442533169</c:v>
                </c:pt>
                <c:pt idx="6724">
                  <c:v>0.1290316682850918</c:v>
                </c:pt>
                <c:pt idx="6725">
                  <c:v>0.1319833967720517</c:v>
                </c:pt>
                <c:pt idx="6726">
                  <c:v>0.13203214169107061</c:v>
                </c:pt>
                <c:pt idx="6727">
                  <c:v>0.13257890887813353</c:v>
                </c:pt>
                <c:pt idx="6728">
                  <c:v>0.12373496538087585</c:v>
                </c:pt>
                <c:pt idx="6729">
                  <c:v>0.11295171987693377</c:v>
                </c:pt>
                <c:pt idx="6730">
                  <c:v>0.10507291335654234</c:v>
                </c:pt>
                <c:pt idx="6731">
                  <c:v>0.10133506507977019</c:v>
                </c:pt>
                <c:pt idx="6732">
                  <c:v>9.9878261349148845E-2</c:v>
                </c:pt>
                <c:pt idx="6733">
                  <c:v>9.8901869169470066E-2</c:v>
                </c:pt>
                <c:pt idx="6734">
                  <c:v>9.8417802067469098E-2</c:v>
                </c:pt>
                <c:pt idx="6735">
                  <c:v>9.7195942014514758E-2</c:v>
                </c:pt>
                <c:pt idx="6736">
                  <c:v>9.6342069954538326E-2</c:v>
                </c:pt>
                <c:pt idx="6737">
                  <c:v>9.5556452747787027E-2</c:v>
                </c:pt>
                <c:pt idx="6738">
                  <c:v>9.4252525934289469E-2</c:v>
                </c:pt>
                <c:pt idx="6739">
                  <c:v>9.4005079915850248E-2</c:v>
                </c:pt>
                <c:pt idx="6740">
                  <c:v>9.3723957977876735E-2</c:v>
                </c:pt>
                <c:pt idx="6741">
                  <c:v>9.3039197286371736E-2</c:v>
                </c:pt>
                <c:pt idx="6742">
                  <c:v>9.3082851145306331E-2</c:v>
                </c:pt>
                <c:pt idx="6743">
                  <c:v>9.3234649613204393E-2</c:v>
                </c:pt>
                <c:pt idx="6744">
                  <c:v>9.2924010329209009E-2</c:v>
                </c:pt>
                <c:pt idx="6745">
                  <c:v>8.8080960864375182E-2</c:v>
                </c:pt>
                <c:pt idx="6746">
                  <c:v>6.6497805098097815E-2</c:v>
                </c:pt>
                <c:pt idx="6747">
                  <c:v>4.6337251349987785E-2</c:v>
                </c:pt>
                <c:pt idx="6748">
                  <c:v>3.2555782432076685E-2</c:v>
                </c:pt>
                <c:pt idx="6749">
                  <c:v>3.0892615168559852E-2</c:v>
                </c:pt>
                <c:pt idx="6750">
                  <c:v>3.0883068966153074E-2</c:v>
                </c:pt>
                <c:pt idx="6751">
                  <c:v>3.087458097073572E-2</c:v>
                </c:pt>
                <c:pt idx="6752">
                  <c:v>3.0791152301816407E-2</c:v>
                </c:pt>
                <c:pt idx="6753">
                  <c:v>3.062659377090407E-2</c:v>
                </c:pt>
                <c:pt idx="6754">
                  <c:v>3.0379176326424603E-2</c:v>
                </c:pt>
                <c:pt idx="6755">
                  <c:v>2.990777790710393E-2</c:v>
                </c:pt>
                <c:pt idx="6756">
                  <c:v>2.9520051451500565E-2</c:v>
                </c:pt>
                <c:pt idx="6757">
                  <c:v>2.9040742548758942E-2</c:v>
                </c:pt>
                <c:pt idx="6758">
                  <c:v>2.9625327666471961E-2</c:v>
                </c:pt>
                <c:pt idx="6759">
                  <c:v>2.9008444943760425E-2</c:v>
                </c:pt>
                <c:pt idx="6760">
                  <c:v>2.8553175343055327E-2</c:v>
                </c:pt>
                <c:pt idx="6761">
                  <c:v>2.8441436428850622E-2</c:v>
                </c:pt>
                <c:pt idx="6762">
                  <c:v>2.8338953403713528E-2</c:v>
                </c:pt>
                <c:pt idx="6763">
                  <c:v>2.8969464811685358E-2</c:v>
                </c:pt>
                <c:pt idx="6764">
                  <c:v>2.9436542542959049E-2</c:v>
                </c:pt>
                <c:pt idx="6765">
                  <c:v>2.9693359525028953E-2</c:v>
                </c:pt>
                <c:pt idx="6766">
                  <c:v>2.9755235229871085E-2</c:v>
                </c:pt>
                <c:pt idx="6767">
                  <c:v>2.9546718363947594E-2</c:v>
                </c:pt>
                <c:pt idx="6768">
                  <c:v>2.9321603140596793E-2</c:v>
                </c:pt>
                <c:pt idx="6769">
                  <c:v>2.9091698216405566E-2</c:v>
                </c:pt>
                <c:pt idx="6770">
                  <c:v>2.9060636730025971E-2</c:v>
                </c:pt>
                <c:pt idx="6771">
                  <c:v>2.9530577692010784E-2</c:v>
                </c:pt>
                <c:pt idx="6772">
                  <c:v>2.9387914542409029E-2</c:v>
                </c:pt>
                <c:pt idx="6773">
                  <c:v>2.9237703618493913E-2</c:v>
                </c:pt>
                <c:pt idx="6774">
                  <c:v>2.8976866358657989E-2</c:v>
                </c:pt>
                <c:pt idx="6775">
                  <c:v>2.7273068651627777E-2</c:v>
                </c:pt>
                <c:pt idx="6776">
                  <c:v>1.5383706279066421E-2</c:v>
                </c:pt>
                <c:pt idx="6777">
                  <c:v>-2.4080623538203869E-3</c:v>
                </c:pt>
                <c:pt idx="6778">
                  <c:v>-7.0450597241763589E-3</c:v>
                </c:pt>
                <c:pt idx="6779">
                  <c:v>-9.7772321549864216E-3</c:v>
                </c:pt>
                <c:pt idx="6780">
                  <c:v>-1.0748354949678988E-2</c:v>
                </c:pt>
                <c:pt idx="6781">
                  <c:v>-1.0733008972467694E-2</c:v>
                </c:pt>
                <c:pt idx="6782">
                  <c:v>-1.0757436808086265E-2</c:v>
                </c:pt>
                <c:pt idx="6783">
                  <c:v>-1.069798519592534E-2</c:v>
                </c:pt>
                <c:pt idx="6784">
                  <c:v>-1.0603017926176439E-2</c:v>
                </c:pt>
                <c:pt idx="6785">
                  <c:v>-9.8352413874248489E-3</c:v>
                </c:pt>
                <c:pt idx="6786">
                  <c:v>-9.3284753708759906E-3</c:v>
                </c:pt>
                <c:pt idx="6787">
                  <c:v>-8.8123460533312773E-3</c:v>
                </c:pt>
                <c:pt idx="6788">
                  <c:v>-1.623967334979013E-2</c:v>
                </c:pt>
                <c:pt idx="6789">
                  <c:v>-1.7140682447183548E-2</c:v>
                </c:pt>
                <c:pt idx="6790">
                  <c:v>-1.6703832303816762E-2</c:v>
                </c:pt>
                <c:pt idx="6791">
                  <c:v>-1.6564225068615858E-2</c:v>
                </c:pt>
                <c:pt idx="6792">
                  <c:v>-1.6265524906483465E-2</c:v>
                </c:pt>
                <c:pt idx="6793">
                  <c:v>-1.6461391913822072E-2</c:v>
                </c:pt>
                <c:pt idx="6794">
                  <c:v>-1.5587691411039557E-2</c:v>
                </c:pt>
                <c:pt idx="6795">
                  <c:v>-1.2764841228347609E-2</c:v>
                </c:pt>
                <c:pt idx="6796">
                  <c:v>-8.5900954499111212E-3</c:v>
                </c:pt>
                <c:pt idx="6797">
                  <c:v>-6.3913940351553889E-3</c:v>
                </c:pt>
                <c:pt idx="6798">
                  <c:v>-5.5788099681010287E-3</c:v>
                </c:pt>
                <c:pt idx="6799">
                  <c:v>-5.4407176976698415E-3</c:v>
                </c:pt>
                <c:pt idx="6800">
                  <c:v>-5.452833971035893E-3</c:v>
                </c:pt>
                <c:pt idx="6801">
                  <c:v>-6.2740927611682814E-3</c:v>
                </c:pt>
                <c:pt idx="6802">
                  <c:v>-6.1969599640372287E-3</c:v>
                </c:pt>
                <c:pt idx="6803">
                  <c:v>-1.1666331203061923E-3</c:v>
                </c:pt>
                <c:pt idx="6804">
                  <c:v>1.2678298506051901E-2</c:v>
                </c:pt>
                <c:pt idx="6805">
                  <c:v>1.3538932949095405E-2</c:v>
                </c:pt>
                <c:pt idx="6806">
                  <c:v>1.4077261091486446E-2</c:v>
                </c:pt>
                <c:pt idx="6807">
                  <c:v>1.5066212004730425E-2</c:v>
                </c:pt>
                <c:pt idx="6808">
                  <c:v>1.5178768958664867E-2</c:v>
                </c:pt>
                <c:pt idx="6809">
                  <c:v>1.5145359464341849E-2</c:v>
                </c:pt>
                <c:pt idx="6810">
                  <c:v>1.5053392692300745E-2</c:v>
                </c:pt>
                <c:pt idx="6811">
                  <c:v>2.17327228386925E-2</c:v>
                </c:pt>
                <c:pt idx="6812">
                  <c:v>2.6561055160878373E-2</c:v>
                </c:pt>
                <c:pt idx="6813">
                  <c:v>2.6518760975599444E-2</c:v>
                </c:pt>
                <c:pt idx="6814">
                  <c:v>2.6514990160063548E-2</c:v>
                </c:pt>
                <c:pt idx="6815">
                  <c:v>2.5828641266121423E-2</c:v>
                </c:pt>
                <c:pt idx="6816">
                  <c:v>2.5330003101946663E-2</c:v>
                </c:pt>
                <c:pt idx="6817">
                  <c:v>2.4744360717758415E-2</c:v>
                </c:pt>
                <c:pt idx="6818">
                  <c:v>2.5226370437085095E-2</c:v>
                </c:pt>
                <c:pt idx="6819">
                  <c:v>2.5353101668460686E-2</c:v>
                </c:pt>
                <c:pt idx="6820">
                  <c:v>2.5650842585835804E-2</c:v>
                </c:pt>
                <c:pt idx="6821">
                  <c:v>2.6987732601583658E-2</c:v>
                </c:pt>
                <c:pt idx="6822">
                  <c:v>2.768524613329458E-2</c:v>
                </c:pt>
                <c:pt idx="6823">
                  <c:v>2.7327940770914778E-2</c:v>
                </c:pt>
                <c:pt idx="6824">
                  <c:v>2.5529851198934889E-2</c:v>
                </c:pt>
                <c:pt idx="6825">
                  <c:v>2.5142770291433407E-2</c:v>
                </c:pt>
                <c:pt idx="6826">
                  <c:v>2.4633150706105618E-2</c:v>
                </c:pt>
                <c:pt idx="6827">
                  <c:v>2.4601690003262858E-2</c:v>
                </c:pt>
                <c:pt idx="6828">
                  <c:v>2.4611091053413595E-2</c:v>
                </c:pt>
                <c:pt idx="6829">
                  <c:v>2.473695379519545E-2</c:v>
                </c:pt>
                <c:pt idx="6830">
                  <c:v>2.4930001609368452E-2</c:v>
                </c:pt>
                <c:pt idx="6831">
                  <c:v>2.491222406400153E-2</c:v>
                </c:pt>
                <c:pt idx="6832">
                  <c:v>2.477944932748545E-2</c:v>
                </c:pt>
                <c:pt idx="6833">
                  <c:v>2.2913614347723037E-2</c:v>
                </c:pt>
                <c:pt idx="6834">
                  <c:v>1.2877974540853156E-2</c:v>
                </c:pt>
                <c:pt idx="6835">
                  <c:v>1.2394787415154375E-2</c:v>
                </c:pt>
                <c:pt idx="6836">
                  <c:v>1.2256990467522414E-2</c:v>
                </c:pt>
                <c:pt idx="6837">
                  <c:v>1.1261712401929186E-2</c:v>
                </c:pt>
                <c:pt idx="6838">
                  <c:v>1.1207706871933449E-2</c:v>
                </c:pt>
                <c:pt idx="6839">
                  <c:v>1.1097839729678311E-2</c:v>
                </c:pt>
                <c:pt idx="6840">
                  <c:v>1.1671499829292881E-2</c:v>
                </c:pt>
                <c:pt idx="6841">
                  <c:v>4.9041292857170907E-3</c:v>
                </c:pt>
                <c:pt idx="6842">
                  <c:v>-5.6525634403587471E-3</c:v>
                </c:pt>
                <c:pt idx="6843">
                  <c:v>-6.728214635845043E-3</c:v>
                </c:pt>
                <c:pt idx="6844">
                  <c:v>-6.3295784935882594E-3</c:v>
                </c:pt>
                <c:pt idx="6845">
                  <c:v>-5.7495689202677145E-3</c:v>
                </c:pt>
                <c:pt idx="6846">
                  <c:v>-4.8751736466278554E-3</c:v>
                </c:pt>
                <c:pt idx="6847">
                  <c:v>-5.2778016975196067E-3</c:v>
                </c:pt>
                <c:pt idx="6848">
                  <c:v>-4.8158261534770059E-3</c:v>
                </c:pt>
                <c:pt idx="6849">
                  <c:v>-3.6035316146624356E-3</c:v>
                </c:pt>
                <c:pt idx="6850">
                  <c:v>-2.28068345585054E-3</c:v>
                </c:pt>
                <c:pt idx="6851">
                  <c:v>-1.0588025863769186E-3</c:v>
                </c:pt>
                <c:pt idx="6852">
                  <c:v>-8.507541590192999E-4</c:v>
                </c:pt>
                <c:pt idx="6853">
                  <c:v>-8.1798562341547053E-4</c:v>
                </c:pt>
                <c:pt idx="6854">
                  <c:v>-8.0169435198085802E-4</c:v>
                </c:pt>
                <c:pt idx="6855">
                  <c:v>-8.3661112496729445E-4</c:v>
                </c:pt>
                <c:pt idx="6856">
                  <c:v>-8.2693307465432284E-4</c:v>
                </c:pt>
                <c:pt idx="6857">
                  <c:v>-5.4893200355642796E-4</c:v>
                </c:pt>
                <c:pt idx="6858">
                  <c:v>2.5050515601419791E-4</c:v>
                </c:pt>
                <c:pt idx="6859">
                  <c:v>1.1214259435535136E-3</c:v>
                </c:pt>
                <c:pt idx="6860">
                  <c:v>2.3482335223929656E-3</c:v>
                </c:pt>
                <c:pt idx="6861">
                  <c:v>2.7478340542672359E-3</c:v>
                </c:pt>
                <c:pt idx="6862">
                  <c:v>3.0215742938590907E-3</c:v>
                </c:pt>
                <c:pt idx="6863">
                  <c:v>3.3948345509911357E-3</c:v>
                </c:pt>
                <c:pt idx="6864">
                  <c:v>3.7039881619105406E-3</c:v>
                </c:pt>
                <c:pt idx="6865">
                  <c:v>3.9304730536429324E-3</c:v>
                </c:pt>
                <c:pt idx="6866">
                  <c:v>3.514353942262018E-3</c:v>
                </c:pt>
                <c:pt idx="6867">
                  <c:v>3.5017234932196318E-3</c:v>
                </c:pt>
                <c:pt idx="6868">
                  <c:v>3.3783152813115381E-3</c:v>
                </c:pt>
                <c:pt idx="6869">
                  <c:v>3.4045541766343761E-3</c:v>
                </c:pt>
                <c:pt idx="6870">
                  <c:v>8.3687667612643811E-4</c:v>
                </c:pt>
                <c:pt idx="6871">
                  <c:v>-8.0755128132114235E-3</c:v>
                </c:pt>
                <c:pt idx="6872">
                  <c:v>-9.9343889711248183E-3</c:v>
                </c:pt>
                <c:pt idx="6873">
                  <c:v>-1.2286278828699898E-2</c:v>
                </c:pt>
                <c:pt idx="6874">
                  <c:v>-1.3821341192268627E-2</c:v>
                </c:pt>
                <c:pt idx="6875">
                  <c:v>-3.6144971691273384E-3</c:v>
                </c:pt>
                <c:pt idx="6876">
                  <c:v>1.4330523255634496E-2</c:v>
                </c:pt>
                <c:pt idx="6877">
                  <c:v>5.1241180104308434E-2</c:v>
                </c:pt>
                <c:pt idx="6878">
                  <c:v>6.7990879734857859E-2</c:v>
                </c:pt>
                <c:pt idx="6879">
                  <c:v>6.8107393296103685E-2</c:v>
                </c:pt>
                <c:pt idx="6880">
                  <c:v>7.2893613350267103E-2</c:v>
                </c:pt>
                <c:pt idx="6881">
                  <c:v>7.3393427420554214E-2</c:v>
                </c:pt>
                <c:pt idx="6882">
                  <c:v>7.2332161910772116E-2</c:v>
                </c:pt>
                <c:pt idx="6883">
                  <c:v>7.1470490509111098E-2</c:v>
                </c:pt>
                <c:pt idx="6884">
                  <c:v>7.1061379421537424E-2</c:v>
                </c:pt>
                <c:pt idx="6885">
                  <c:v>7.1460157698326601E-2</c:v>
                </c:pt>
                <c:pt idx="6886">
                  <c:v>7.1410570735819051E-2</c:v>
                </c:pt>
                <c:pt idx="6887">
                  <c:v>7.1785340886776294E-2</c:v>
                </c:pt>
                <c:pt idx="6888">
                  <c:v>7.1952555087373679E-2</c:v>
                </c:pt>
                <c:pt idx="6889">
                  <c:v>7.2518061111357904E-2</c:v>
                </c:pt>
                <c:pt idx="6890">
                  <c:v>7.2661147970541559E-2</c:v>
                </c:pt>
                <c:pt idx="6891">
                  <c:v>7.2393620772705447E-2</c:v>
                </c:pt>
                <c:pt idx="6892">
                  <c:v>7.2110251400267222E-2</c:v>
                </c:pt>
                <c:pt idx="6893">
                  <c:v>7.1925162997308056E-2</c:v>
                </c:pt>
                <c:pt idx="6894">
                  <c:v>7.1882266167088413E-2</c:v>
                </c:pt>
                <c:pt idx="6895">
                  <c:v>7.1758638143313611E-2</c:v>
                </c:pt>
                <c:pt idx="6896">
                  <c:v>7.2103375301649564E-2</c:v>
                </c:pt>
                <c:pt idx="6897">
                  <c:v>7.2503815099410826E-2</c:v>
                </c:pt>
                <c:pt idx="6898">
                  <c:v>7.2814197794250135E-2</c:v>
                </c:pt>
                <c:pt idx="6899">
                  <c:v>7.3121331330725833E-2</c:v>
                </c:pt>
                <c:pt idx="6900">
                  <c:v>7.3680419193781155E-2</c:v>
                </c:pt>
                <c:pt idx="6901">
                  <c:v>7.4279143070403425E-2</c:v>
                </c:pt>
                <c:pt idx="6902">
                  <c:v>7.5713803562832152E-2</c:v>
                </c:pt>
                <c:pt idx="6903">
                  <c:v>7.6321528341770528E-2</c:v>
                </c:pt>
                <c:pt idx="6904">
                  <c:v>7.6531706160964927E-2</c:v>
                </c:pt>
                <c:pt idx="6905">
                  <c:v>8.1910915255097097E-2</c:v>
                </c:pt>
                <c:pt idx="6906">
                  <c:v>8.2928551526213548E-2</c:v>
                </c:pt>
                <c:pt idx="6907">
                  <c:v>6.722860325078471E-2</c:v>
                </c:pt>
                <c:pt idx="6908">
                  <c:v>5.3338045122436062E-2</c:v>
                </c:pt>
                <c:pt idx="6909">
                  <c:v>5.3256655740637995E-2</c:v>
                </c:pt>
                <c:pt idx="6910">
                  <c:v>4.6816769978959963E-2</c:v>
                </c:pt>
                <c:pt idx="6911">
                  <c:v>4.3767860104924089E-2</c:v>
                </c:pt>
                <c:pt idx="6912">
                  <c:v>4.6264872416701061E-2</c:v>
                </c:pt>
                <c:pt idx="6913">
                  <c:v>4.635576401923748E-2</c:v>
                </c:pt>
                <c:pt idx="6914">
                  <c:v>4.620701272260784E-2</c:v>
                </c:pt>
                <c:pt idx="6915">
                  <c:v>4.6206729878773681E-2</c:v>
                </c:pt>
                <c:pt idx="6916">
                  <c:v>4.5910891779322643E-2</c:v>
                </c:pt>
                <c:pt idx="6917">
                  <c:v>4.5910599057699203E-2</c:v>
                </c:pt>
                <c:pt idx="6918">
                  <c:v>4.5570426256935956E-2</c:v>
                </c:pt>
                <c:pt idx="6919">
                  <c:v>4.5031386084770697E-2</c:v>
                </c:pt>
                <c:pt idx="6920">
                  <c:v>4.6199561220354977E-2</c:v>
                </c:pt>
                <c:pt idx="6921">
                  <c:v>4.7429375551571215E-2</c:v>
                </c:pt>
                <c:pt idx="6922">
                  <c:v>4.8946135289795932E-2</c:v>
                </c:pt>
                <c:pt idx="6923">
                  <c:v>4.9950779168052947E-2</c:v>
                </c:pt>
                <c:pt idx="6924">
                  <c:v>5.116876152775858E-2</c:v>
                </c:pt>
                <c:pt idx="6925">
                  <c:v>5.3230787225506351E-2</c:v>
                </c:pt>
                <c:pt idx="6926">
                  <c:v>5.3892461873338737E-2</c:v>
                </c:pt>
                <c:pt idx="6927">
                  <c:v>5.3771989797808339E-2</c:v>
                </c:pt>
                <c:pt idx="6928">
                  <c:v>5.3927715777333962E-2</c:v>
                </c:pt>
                <c:pt idx="6929">
                  <c:v>5.423371250964229E-2</c:v>
                </c:pt>
                <c:pt idx="6930">
                  <c:v>5.4769558383272368E-2</c:v>
                </c:pt>
                <c:pt idx="6931">
                  <c:v>5.4262746950010335E-2</c:v>
                </c:pt>
                <c:pt idx="6932">
                  <c:v>4.8104296176646966E-2</c:v>
                </c:pt>
                <c:pt idx="6933">
                  <c:v>4.5756706221632221E-2</c:v>
                </c:pt>
                <c:pt idx="6934">
                  <c:v>4.1980860040269734E-2</c:v>
                </c:pt>
                <c:pt idx="6935">
                  <c:v>2.6215059496386695E-2</c:v>
                </c:pt>
                <c:pt idx="6936">
                  <c:v>1.2094638576805825E-2</c:v>
                </c:pt>
                <c:pt idx="6937">
                  <c:v>1.0778864867010541E-2</c:v>
                </c:pt>
                <c:pt idx="6938">
                  <c:v>9.0478217743357268E-3</c:v>
                </c:pt>
                <c:pt idx="6939">
                  <c:v>8.1200397682894398E-3</c:v>
                </c:pt>
                <c:pt idx="6940">
                  <c:v>7.3150650784681252E-3</c:v>
                </c:pt>
                <c:pt idx="6941">
                  <c:v>7.2680337737851802E-3</c:v>
                </c:pt>
                <c:pt idx="6942">
                  <c:v>-2.3092048534893838E-3</c:v>
                </c:pt>
                <c:pt idx="6943">
                  <c:v>-4.4004921304437224E-3</c:v>
                </c:pt>
                <c:pt idx="6944">
                  <c:v>-5.1275461219451642E-3</c:v>
                </c:pt>
                <c:pt idx="6945">
                  <c:v>-5.4448123173367734E-3</c:v>
                </c:pt>
                <c:pt idx="6946">
                  <c:v>-5.2206689517998121E-3</c:v>
                </c:pt>
                <c:pt idx="6947">
                  <c:v>-5.3911466696593847E-3</c:v>
                </c:pt>
                <c:pt idx="6948">
                  <c:v>-4.9804418723210734E-3</c:v>
                </c:pt>
                <c:pt idx="6949">
                  <c:v>-4.3894200901943379E-3</c:v>
                </c:pt>
                <c:pt idx="6950">
                  <c:v>-4.0320763768150313E-3</c:v>
                </c:pt>
                <c:pt idx="6951">
                  <c:v>-3.4915776988972847E-3</c:v>
                </c:pt>
                <c:pt idx="6952">
                  <c:v>-3.0803457970572969E-3</c:v>
                </c:pt>
                <c:pt idx="6953">
                  <c:v>-3.1625814447390731E-3</c:v>
                </c:pt>
                <c:pt idx="6954">
                  <c:v>-2.6244499424444082E-3</c:v>
                </c:pt>
                <c:pt idx="6955">
                  <c:v>-4.4648047107041077E-3</c:v>
                </c:pt>
                <c:pt idx="6956">
                  <c:v>-7.2946784782515154E-3</c:v>
                </c:pt>
                <c:pt idx="6957">
                  <c:v>-6.699553417183186E-3</c:v>
                </c:pt>
                <c:pt idx="6958">
                  <c:v>-5.5542886003840265E-3</c:v>
                </c:pt>
                <c:pt idx="6959">
                  <c:v>-3.957685911029166E-3</c:v>
                </c:pt>
                <c:pt idx="6960">
                  <c:v>-2.6566463752339033E-3</c:v>
                </c:pt>
                <c:pt idx="6961">
                  <c:v>-5.900814256885184E-4</c:v>
                </c:pt>
                <c:pt idx="6962">
                  <c:v>-7.1890069578901296E-4</c:v>
                </c:pt>
                <c:pt idx="6963">
                  <c:v>-8.1551192932881496E-4</c:v>
                </c:pt>
                <c:pt idx="6964">
                  <c:v>-6.7573979847999378E-4</c:v>
                </c:pt>
                <c:pt idx="6965">
                  <c:v>-6.9729710561374642E-4</c:v>
                </c:pt>
                <c:pt idx="6966">
                  <c:v>-9.5847653726451217E-4</c:v>
                </c:pt>
                <c:pt idx="6967">
                  <c:v>-9.4696389208293215E-4</c:v>
                </c:pt>
                <c:pt idx="6968">
                  <c:v>-9.5527262595760526E-4</c:v>
                </c:pt>
                <c:pt idx="6969">
                  <c:v>-9.0575546346868645E-4</c:v>
                </c:pt>
                <c:pt idx="6970">
                  <c:v>-6.2201871708371902E-4</c:v>
                </c:pt>
                <c:pt idx="6971">
                  <c:v>-4.0115730332351291E-3</c:v>
                </c:pt>
                <c:pt idx="6972">
                  <c:v>-3.8353844529474615E-3</c:v>
                </c:pt>
                <c:pt idx="6973">
                  <c:v>-3.6244002800170441E-3</c:v>
                </c:pt>
                <c:pt idx="6974">
                  <c:v>-3.5096654716766599E-3</c:v>
                </c:pt>
                <c:pt idx="6975">
                  <c:v>-3.306939856695371E-3</c:v>
                </c:pt>
                <c:pt idx="6976">
                  <c:v>-3.1016947161605045E-3</c:v>
                </c:pt>
                <c:pt idx="6977">
                  <c:v>-2.7982956544214555E-3</c:v>
                </c:pt>
                <c:pt idx="6978">
                  <c:v>-2.4666451735879617E-3</c:v>
                </c:pt>
                <c:pt idx="6979">
                  <c:v>-2.6024390293708875E-3</c:v>
                </c:pt>
                <c:pt idx="6980">
                  <c:v>-2.3393752445512121E-3</c:v>
                </c:pt>
                <c:pt idx="6981">
                  <c:v>-1.9345554537479274E-3</c:v>
                </c:pt>
                <c:pt idx="6982">
                  <c:v>-3.3289552713925037E-4</c:v>
                </c:pt>
                <c:pt idx="6983">
                  <c:v>2.0737742866092767E-3</c:v>
                </c:pt>
                <c:pt idx="6984">
                  <c:v>3.3261838250131983E-3</c:v>
                </c:pt>
                <c:pt idx="6985">
                  <c:v>6.7243068840055226E-3</c:v>
                </c:pt>
                <c:pt idx="6986">
                  <c:v>6.7355815192928301E-3</c:v>
                </c:pt>
                <c:pt idx="6987">
                  <c:v>6.5761616135975431E-3</c:v>
                </c:pt>
                <c:pt idx="6988">
                  <c:v>7.4632499526716325E-3</c:v>
                </c:pt>
                <c:pt idx="6989">
                  <c:v>6.8225104039587921E-3</c:v>
                </c:pt>
                <c:pt idx="6990">
                  <c:v>7.6837546059934977E-3</c:v>
                </c:pt>
                <c:pt idx="6991">
                  <c:v>7.6499246853520986E-3</c:v>
                </c:pt>
                <c:pt idx="6992">
                  <c:v>9.2734895826579334E-3</c:v>
                </c:pt>
                <c:pt idx="6993">
                  <c:v>1.0984593447523778E-2</c:v>
                </c:pt>
                <c:pt idx="6994">
                  <c:v>1.4674456740196783E-2</c:v>
                </c:pt>
                <c:pt idx="6995">
                  <c:v>-1.6345275038990217E-3</c:v>
                </c:pt>
                <c:pt idx="6996">
                  <c:v>-8.3787101835248456E-3</c:v>
                </c:pt>
              </c:numCache>
            </c:numRef>
          </c:val>
          <c:smooth val="0"/>
          <c:extLst>
            <c:ext xmlns:c16="http://schemas.microsoft.com/office/drawing/2014/chart" uri="{C3380CC4-5D6E-409C-BE32-E72D297353CC}">
              <c16:uniqueId val="{00000000-6E40-4AA8-8603-52702AD46AF9}"/>
            </c:ext>
          </c:extLst>
        </c:ser>
        <c:dLbls>
          <c:showLegendKey val="0"/>
          <c:showVal val="0"/>
          <c:showCatName val="0"/>
          <c:showSerName val="0"/>
          <c:showPercent val="0"/>
          <c:showBubbleSize val="0"/>
        </c:dLbls>
        <c:marker val="1"/>
        <c:smooth val="0"/>
        <c:axId val="824860760"/>
        <c:axId val="824861088"/>
      </c:lineChart>
      <c:lineChart>
        <c:grouping val="standard"/>
        <c:varyColors val="0"/>
        <c:ser>
          <c:idx val="0"/>
          <c:order val="0"/>
          <c:tx>
            <c:strRef>
              <c:f>'Q8. Regression Equation'!$I$2</c:f>
              <c:strCache>
                <c:ptCount val="1"/>
                <c:pt idx="0">
                  <c:v>PUMP FAILURE (1 or 0)</c:v>
                </c:pt>
              </c:strCache>
            </c:strRef>
          </c:tx>
          <c:spPr>
            <a:ln w="28575" cap="rnd">
              <a:solidFill>
                <a:schemeClr val="accent1"/>
              </a:solidFill>
              <a:round/>
            </a:ln>
            <a:effectLst/>
          </c:spPr>
          <c:marker>
            <c:symbol val="none"/>
          </c:marker>
          <c:val>
            <c:numRef>
              <c:f>'Q8. Regression Equation'!$I$3:$I$6999</c:f>
              <c:numCache>
                <c:formatCode>General</c:formatCode>
                <c:ptCount val="699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c:v>
                </c:pt>
                <c:pt idx="5385">
                  <c:v>0</c:v>
                </c:pt>
                <c:pt idx="5386">
                  <c:v>0</c:v>
                </c:pt>
                <c:pt idx="5387">
                  <c:v>0</c:v>
                </c:pt>
                <c:pt idx="5388">
                  <c:v>0</c:v>
                </c:pt>
                <c:pt idx="5389">
                  <c:v>0</c:v>
                </c:pt>
                <c:pt idx="5390">
                  <c:v>0</c:v>
                </c:pt>
                <c:pt idx="5391">
                  <c:v>0</c:v>
                </c:pt>
                <c:pt idx="5392">
                  <c:v>0</c:v>
                </c:pt>
                <c:pt idx="5393">
                  <c:v>0</c:v>
                </c:pt>
                <c:pt idx="5394">
                  <c:v>0</c:v>
                </c:pt>
                <c:pt idx="5395">
                  <c:v>0</c:v>
                </c:pt>
                <c:pt idx="5396">
                  <c:v>0</c:v>
                </c:pt>
                <c:pt idx="5397">
                  <c:v>0</c:v>
                </c:pt>
                <c:pt idx="5398">
                  <c:v>0</c:v>
                </c:pt>
                <c:pt idx="5399">
                  <c:v>0</c:v>
                </c:pt>
                <c:pt idx="5400">
                  <c:v>0</c:v>
                </c:pt>
                <c:pt idx="5401">
                  <c:v>0</c:v>
                </c:pt>
                <c:pt idx="5402">
                  <c:v>0</c:v>
                </c:pt>
                <c:pt idx="5403">
                  <c:v>0</c:v>
                </c:pt>
                <c:pt idx="5404">
                  <c:v>0</c:v>
                </c:pt>
                <c:pt idx="5405">
                  <c:v>0</c:v>
                </c:pt>
                <c:pt idx="5406">
                  <c:v>0</c:v>
                </c:pt>
                <c:pt idx="5407">
                  <c:v>0</c:v>
                </c:pt>
                <c:pt idx="5408">
                  <c:v>0</c:v>
                </c:pt>
                <c:pt idx="5409">
                  <c:v>0</c:v>
                </c:pt>
                <c:pt idx="5410">
                  <c:v>0</c:v>
                </c:pt>
                <c:pt idx="5411">
                  <c:v>0</c:v>
                </c:pt>
                <c:pt idx="5412">
                  <c:v>0</c:v>
                </c:pt>
                <c:pt idx="5413">
                  <c:v>1</c:v>
                </c:pt>
                <c:pt idx="5414">
                  <c:v>1</c:v>
                </c:pt>
                <c:pt idx="5415">
                  <c:v>1</c:v>
                </c:pt>
                <c:pt idx="5416">
                  <c:v>1</c:v>
                </c:pt>
                <c:pt idx="5417">
                  <c:v>1</c:v>
                </c:pt>
                <c:pt idx="5418">
                  <c:v>1</c:v>
                </c:pt>
                <c:pt idx="5419">
                  <c:v>1</c:v>
                </c:pt>
                <c:pt idx="5420">
                  <c:v>1</c:v>
                </c:pt>
                <c:pt idx="5421">
                  <c:v>1</c:v>
                </c:pt>
                <c:pt idx="5422">
                  <c:v>1</c:v>
                </c:pt>
                <c:pt idx="5423">
                  <c:v>1</c:v>
                </c:pt>
                <c:pt idx="5424">
                  <c:v>1</c:v>
                </c:pt>
                <c:pt idx="5425">
                  <c:v>1</c:v>
                </c:pt>
                <c:pt idx="5426">
                  <c:v>1</c:v>
                </c:pt>
                <c:pt idx="5427">
                  <c:v>1</c:v>
                </c:pt>
                <c:pt idx="5428">
                  <c:v>1</c:v>
                </c:pt>
                <c:pt idx="5429">
                  <c:v>1</c:v>
                </c:pt>
                <c:pt idx="5430">
                  <c:v>1</c:v>
                </c:pt>
                <c:pt idx="5431">
                  <c:v>1</c:v>
                </c:pt>
                <c:pt idx="5432">
                  <c:v>1</c:v>
                </c:pt>
                <c:pt idx="5433">
                  <c:v>1</c:v>
                </c:pt>
                <c:pt idx="5434">
                  <c:v>1</c:v>
                </c:pt>
                <c:pt idx="5435">
                  <c:v>1</c:v>
                </c:pt>
                <c:pt idx="5436">
                  <c:v>1</c:v>
                </c:pt>
                <c:pt idx="5437">
                  <c:v>1</c:v>
                </c:pt>
                <c:pt idx="5438">
                  <c:v>1</c:v>
                </c:pt>
                <c:pt idx="5439">
                  <c:v>1</c:v>
                </c:pt>
                <c:pt idx="5440">
                  <c:v>1</c:v>
                </c:pt>
                <c:pt idx="5441">
                  <c:v>1</c:v>
                </c:pt>
                <c:pt idx="5442">
                  <c:v>1</c:v>
                </c:pt>
                <c:pt idx="5443">
                  <c:v>1</c:v>
                </c:pt>
                <c:pt idx="5444">
                  <c:v>1</c:v>
                </c:pt>
                <c:pt idx="5445">
                  <c:v>1</c:v>
                </c:pt>
                <c:pt idx="5446">
                  <c:v>1</c:v>
                </c:pt>
                <c:pt idx="5447">
                  <c:v>1</c:v>
                </c:pt>
                <c:pt idx="5448">
                  <c:v>1</c:v>
                </c:pt>
                <c:pt idx="5449">
                  <c:v>1</c:v>
                </c:pt>
                <c:pt idx="5450">
                  <c:v>1</c:v>
                </c:pt>
                <c:pt idx="5451">
                  <c:v>1</c:v>
                </c:pt>
                <c:pt idx="5452">
                  <c:v>1</c:v>
                </c:pt>
                <c:pt idx="5453">
                  <c:v>1</c:v>
                </c:pt>
                <c:pt idx="5454">
                  <c:v>1</c:v>
                </c:pt>
                <c:pt idx="5455">
                  <c:v>1</c:v>
                </c:pt>
                <c:pt idx="5456">
                  <c:v>1</c:v>
                </c:pt>
                <c:pt idx="5457">
                  <c:v>1</c:v>
                </c:pt>
                <c:pt idx="5458">
                  <c:v>1</c:v>
                </c:pt>
                <c:pt idx="5459">
                  <c:v>1</c:v>
                </c:pt>
                <c:pt idx="5460">
                  <c:v>1</c:v>
                </c:pt>
                <c:pt idx="5461">
                  <c:v>1</c:v>
                </c:pt>
                <c:pt idx="5462">
                  <c:v>1</c:v>
                </c:pt>
                <c:pt idx="5463">
                  <c:v>1</c:v>
                </c:pt>
                <c:pt idx="5464">
                  <c:v>1</c:v>
                </c:pt>
                <c:pt idx="5465">
                  <c:v>1</c:v>
                </c:pt>
                <c:pt idx="5466">
                  <c:v>1</c:v>
                </c:pt>
                <c:pt idx="5467">
                  <c:v>1</c:v>
                </c:pt>
                <c:pt idx="5468">
                  <c:v>1</c:v>
                </c:pt>
                <c:pt idx="5469">
                  <c:v>1</c:v>
                </c:pt>
                <c:pt idx="5470">
                  <c:v>1</c:v>
                </c:pt>
                <c:pt idx="5471">
                  <c:v>1</c:v>
                </c:pt>
                <c:pt idx="5472">
                  <c:v>1</c:v>
                </c:pt>
                <c:pt idx="5473">
                  <c:v>1</c:v>
                </c:pt>
                <c:pt idx="5474">
                  <c:v>1</c:v>
                </c:pt>
                <c:pt idx="5475">
                  <c:v>1</c:v>
                </c:pt>
                <c:pt idx="5476">
                  <c:v>1</c:v>
                </c:pt>
                <c:pt idx="5477">
                  <c:v>1</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0</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numCache>
            </c:numRef>
          </c:val>
          <c:smooth val="0"/>
          <c:extLst>
            <c:ext xmlns:c16="http://schemas.microsoft.com/office/drawing/2014/chart" uri="{C3380CC4-5D6E-409C-BE32-E72D297353CC}">
              <c16:uniqueId val="{00000001-6E40-4AA8-8603-52702AD46AF9}"/>
            </c:ext>
          </c:extLst>
        </c:ser>
        <c:dLbls>
          <c:showLegendKey val="0"/>
          <c:showVal val="0"/>
          <c:showCatName val="0"/>
          <c:showSerName val="0"/>
          <c:showPercent val="0"/>
          <c:showBubbleSize val="0"/>
        </c:dLbls>
        <c:marker val="1"/>
        <c:smooth val="0"/>
        <c:axId val="854493152"/>
        <c:axId val="854492824"/>
      </c:lineChart>
      <c:catAx>
        <c:axId val="82486076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4861088"/>
        <c:crosses val="autoZero"/>
        <c:auto val="1"/>
        <c:lblAlgn val="ctr"/>
        <c:lblOffset val="100"/>
        <c:noMultiLvlLbl val="0"/>
      </c:catAx>
      <c:valAx>
        <c:axId val="8248610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dirty="0"/>
                  <a:t>Regression</a:t>
                </a:r>
                <a:r>
                  <a:rPr lang="en-US" b="1" baseline="0" dirty="0"/>
                  <a:t> Equation Prediction of Pump Failure</a:t>
                </a:r>
                <a:endParaRPr lang="en-US"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4860760"/>
        <c:crosses val="autoZero"/>
        <c:crossBetween val="between"/>
      </c:valAx>
      <c:valAx>
        <c:axId val="854492824"/>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Pump</a:t>
                </a:r>
                <a:r>
                  <a:rPr lang="en-US" b="1" baseline="0" dirty="0"/>
                  <a:t> Failure (0 = Normal, 1 = Failure)</a:t>
                </a:r>
                <a:endParaRPr lang="en-US" b="1" dirty="0"/>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4493152"/>
        <c:crosses val="max"/>
        <c:crossBetween val="between"/>
      </c:valAx>
      <c:catAx>
        <c:axId val="854493152"/>
        <c:scaling>
          <c:orientation val="minMax"/>
        </c:scaling>
        <c:delete val="1"/>
        <c:axPos val="b"/>
        <c:majorTickMark val="out"/>
        <c:minorTickMark val="none"/>
        <c:tickLblPos val="nextTo"/>
        <c:crossAx val="854492824"/>
        <c:crossesAt val="0"/>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Rolling</a:t>
            </a:r>
            <a:r>
              <a:rPr lang="en-US" baseline="0" dirty="0">
                <a:solidFill>
                  <a:schemeClr val="tx1"/>
                </a:solidFill>
              </a:rPr>
              <a:t> STDV Correlation to Pump Failure</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0"/>
              <c:layout>
                <c:manualLayout>
                  <c:x val="0"/>
                  <c:y val="0.1111114756488772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F2B-4070-B690-762E3F9AF2FD}"/>
                </c:ext>
              </c:extLst>
            </c:dLbl>
            <c:dLbl>
              <c:idx val="1"/>
              <c:layout>
                <c:manualLayout>
                  <c:x val="-2.7777777777777779E-3"/>
                  <c:y val="9.722331583552056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2B-4070-B690-762E3F9AF2F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4. Matrix Analysis Rolling SD'!$A$13:$A$21</c:f>
              <c:strCache>
                <c:ptCount val="7"/>
                <c:pt idx="0">
                  <c:v>SURJEK_ESTIMATED_EFFICIENCY</c:v>
                </c:pt>
                <c:pt idx="1">
                  <c:v>SURJEK_TUBE_PRESSURE</c:v>
                </c:pt>
                <c:pt idx="2">
                  <c:v>SURJEK_FLOW_METER_1</c:v>
                </c:pt>
                <c:pt idx="3">
                  <c:v>ROTATIONAL_PUMP_RPM</c:v>
                </c:pt>
                <c:pt idx="4">
                  <c:v>SURJEK_PUMP_TORQUE</c:v>
                </c:pt>
                <c:pt idx="5">
                  <c:v>MAXIMUM_DAILY_PUMP_TORQUE</c:v>
                </c:pt>
                <c:pt idx="6">
                  <c:v>SURJEK_FLOW_METER_2</c:v>
                </c:pt>
              </c:strCache>
            </c:strRef>
          </c:cat>
          <c:val>
            <c:numRef>
              <c:f>'Q4. Matrix Analysis Rolling SD'!$B$13:$B$21</c:f>
              <c:numCache>
                <c:formatCode>General</c:formatCode>
                <c:ptCount val="7"/>
                <c:pt idx="0">
                  <c:v>-6.9844078397307344E-2</c:v>
                </c:pt>
                <c:pt idx="1">
                  <c:v>-2.0523273653394222E-2</c:v>
                </c:pt>
                <c:pt idx="2">
                  <c:v>0.21342086000355057</c:v>
                </c:pt>
                <c:pt idx="3">
                  <c:v>0.38225902822344426</c:v>
                </c:pt>
                <c:pt idx="4">
                  <c:v>0.53529470963638859</c:v>
                </c:pt>
                <c:pt idx="5">
                  <c:v>0.55328739255061199</c:v>
                </c:pt>
                <c:pt idx="6">
                  <c:v>0.61127535601095162</c:v>
                </c:pt>
              </c:numCache>
            </c:numRef>
          </c:val>
          <c:extLst>
            <c:ext xmlns:c16="http://schemas.microsoft.com/office/drawing/2014/chart" uri="{C3380CC4-5D6E-409C-BE32-E72D297353CC}">
              <c16:uniqueId val="{00000002-7F2B-4070-B690-762E3F9AF2FD}"/>
            </c:ext>
          </c:extLst>
        </c:ser>
        <c:dLbls>
          <c:showLegendKey val="0"/>
          <c:showVal val="0"/>
          <c:showCatName val="0"/>
          <c:showSerName val="0"/>
          <c:showPercent val="0"/>
          <c:showBubbleSize val="0"/>
        </c:dLbls>
        <c:gapWidth val="219"/>
        <c:overlap val="-27"/>
        <c:axId val="469916400"/>
        <c:axId val="469909512"/>
      </c:barChart>
      <c:catAx>
        <c:axId val="469916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909512"/>
        <c:crosses val="autoZero"/>
        <c:auto val="1"/>
        <c:lblAlgn val="ctr"/>
        <c:lblOffset val="100"/>
        <c:noMultiLvlLbl val="0"/>
      </c:catAx>
      <c:valAx>
        <c:axId val="469909512"/>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9164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drawing1.xml><?xml version="1.0" encoding="utf-8"?>
<c:userShapes xmlns:c="http://schemas.openxmlformats.org/drawingml/2006/chart">
  <cdr:relSizeAnchor xmlns:cdr="http://schemas.openxmlformats.org/drawingml/2006/chartDrawing">
    <cdr:from>
      <cdr:x>0.16843</cdr:x>
      <cdr:y>0.58704</cdr:y>
    </cdr:from>
    <cdr:to>
      <cdr:x>0.58793</cdr:x>
      <cdr:y>0.79271</cdr:y>
    </cdr:to>
    <cdr:sp macro="" textlink="">
      <cdr:nvSpPr>
        <cdr:cNvPr id="4" name="TextBox 3">
          <a:extLst xmlns:a="http://schemas.openxmlformats.org/drawingml/2006/main">
            <a:ext uri="{FF2B5EF4-FFF2-40B4-BE49-F238E27FC236}">
              <a16:creationId xmlns:a16="http://schemas.microsoft.com/office/drawing/2014/main" id="{B39AFBFE-46D8-42D7-912B-D46E4E611A20}"/>
            </a:ext>
          </a:extLst>
        </cdr:cNvPr>
        <cdr:cNvSpPr txBox="1"/>
      </cdr:nvSpPr>
      <cdr:spPr>
        <a:xfrm xmlns:a="http://schemas.openxmlformats.org/drawingml/2006/main">
          <a:off x="857249" y="2963637"/>
          <a:ext cx="2135117" cy="10383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dirty="0"/>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AU" sz="1600" dirty="0"/>
              <a:t>Plant failure -&gt; shut down for maintenance we will lose out on revenue from desalinated water sales</a:t>
            </a:r>
            <a:endParaRPr dirty="0"/>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extLst>
      <p:ext uri="{BB962C8B-B14F-4D97-AF65-F5344CB8AC3E}">
        <p14:creationId xmlns:p14="http://schemas.microsoft.com/office/powerpoint/2010/main" val="698271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dirty="0"/>
              <a:t>Although only 54% of the values fit the regression model, this is better than having nothing. We have a better chance now to prevent future pump failure and minimize maintenance costs. With more data we can improve the regression model.</a:t>
            </a: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extLst>
      <p:ext uri="{BB962C8B-B14F-4D97-AF65-F5344CB8AC3E}">
        <p14:creationId xmlns:p14="http://schemas.microsoft.com/office/powerpoint/2010/main" val="398997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We see on the left graph that interquartile range is very slim for most of the variables when there is no failure.</a:t>
            </a:r>
          </a:p>
          <a:p>
            <a:pPr marL="0" lvl="0" indent="0" algn="l" rtl="0">
              <a:spcBef>
                <a:spcPts val="0"/>
              </a:spcBef>
              <a:spcAft>
                <a:spcPts val="0"/>
              </a:spcAft>
              <a:buNone/>
            </a:pPr>
            <a:r>
              <a:rPr lang="en-US" dirty="0"/>
              <a:t>On the right graph we can see that the interquartile range beings to spread for some of the variables when there is a pump failure with 3 of the variables standing out the most.</a:t>
            </a:r>
            <a:endParaRPr dirty="0"/>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To further back up our boxplot analysis we calculated the correlation to determine which variables are highly correlated to pump failure. The result that we got backed up our hypothesis when we did our boxplots.</a:t>
            </a:r>
            <a:endParaRPr dirty="0"/>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dirty="0"/>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36273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ext" type="tx">
  <p:cSld name="Title and Text">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extLst>
      <p:ext uri="{BB962C8B-B14F-4D97-AF65-F5344CB8AC3E}">
        <p14:creationId xmlns:p14="http://schemas.microsoft.com/office/powerpoint/2010/main" val="2602532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 r:id="rId6" imgW="158750" imgH="158750" progId="TCLayout.ActiveDocument.1">
                  <p:embed/>
                </p:oleObj>
              </mc:Choice>
              <mc:Fallback>
                <p:oleObj r:id="rId6" imgW="158750" imgH="158750" progId="TCLayout.ActiveDocument.1">
                  <p:embed/>
                  <p:pic>
                    <p:nvPicPr>
                      <p:cNvPr id="8" name="Google Shape;8;p7"/>
                      <p:cNvPicPr preferRelativeResize="0"/>
                      <p:nvPr/>
                    </p:nvPicPr>
                    <p:blipFill rotWithShape="1">
                      <a:blip r:embed="rId7">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a:t>Southern Water Corp – Technical Presentation</a:t>
            </a:r>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a:solidFill>
                  <a:schemeClr val="dk1"/>
                </a:solidFill>
                <a:latin typeface="Arial"/>
                <a:ea typeface="Arial"/>
                <a:cs typeface="Arial"/>
                <a:sym typeface="Arial"/>
              </a:rPr>
              <a:t>Date: </a:t>
            </a:r>
            <a:endParaRPr/>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Danny Hua</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title"/>
          </p:nvPr>
        </p:nvSpPr>
        <p:spPr>
          <a:xfrm>
            <a:off x="427384" y="579286"/>
            <a:ext cx="8220228" cy="30777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2000" dirty="0">
                <a:solidFill>
                  <a:schemeClr val="tx1"/>
                </a:solidFill>
              </a:rPr>
              <a:t>Executive Summary</a:t>
            </a:r>
            <a:endParaRPr sz="2000" dirty="0">
              <a:solidFill>
                <a:schemeClr val="tx1"/>
              </a:solidFill>
            </a:endParaRPr>
          </a:p>
        </p:txBody>
      </p:sp>
      <p:sp>
        <p:nvSpPr>
          <p:cNvPr id="2" name="Text Placeholder 1">
            <a:extLst>
              <a:ext uri="{FF2B5EF4-FFF2-40B4-BE49-F238E27FC236}">
                <a16:creationId xmlns:a16="http://schemas.microsoft.com/office/drawing/2014/main" id="{1085BFD6-8BF3-47D5-86D4-00D4083B3DAE}"/>
              </a:ext>
            </a:extLst>
          </p:cNvPr>
          <p:cNvSpPr>
            <a:spLocks noGrp="1"/>
          </p:cNvSpPr>
          <p:nvPr>
            <p:ph type="body" idx="1"/>
          </p:nvPr>
        </p:nvSpPr>
        <p:spPr>
          <a:xfrm>
            <a:off x="427384" y="887063"/>
            <a:ext cx="7916517" cy="3293209"/>
          </a:xfrm>
        </p:spPr>
        <p:txBody>
          <a:bodyPr/>
          <a:lstStyle/>
          <a:p>
            <a:pPr fontAlgn="base">
              <a:spcAft>
                <a:spcPts val="1200"/>
              </a:spcAft>
              <a:buFont typeface="Arial" panose="020B0604020202020204" pitchFamily="34" charset="0"/>
              <a:buChar char="•"/>
            </a:pPr>
            <a:endParaRPr lang="en-AU" sz="1200" dirty="0"/>
          </a:p>
          <a:p>
            <a:pPr fontAlgn="base">
              <a:spcAft>
                <a:spcPts val="1200"/>
              </a:spcAft>
              <a:buFont typeface="+mj-lt"/>
              <a:buAutoNum type="arabicPeriod"/>
            </a:pPr>
            <a:r>
              <a:rPr lang="en-AU" sz="1200" dirty="0"/>
              <a:t>FOCUS: What variables are correlated to pump failure?</a:t>
            </a:r>
          </a:p>
          <a:p>
            <a:pPr fontAlgn="base">
              <a:spcAft>
                <a:spcPts val="1200"/>
              </a:spcAft>
              <a:buFont typeface="+mj-lt"/>
              <a:buAutoNum type="arabicPeriod"/>
            </a:pPr>
            <a:r>
              <a:rPr lang="en-AU" sz="1200" dirty="0"/>
              <a:t>Pump failure is causing an increase in costs</a:t>
            </a:r>
          </a:p>
          <a:p>
            <a:pPr fontAlgn="base">
              <a:spcAft>
                <a:spcPts val="1200"/>
              </a:spcAft>
              <a:buFont typeface="+mj-lt"/>
              <a:buAutoNum type="arabicPeriod"/>
            </a:pPr>
            <a:r>
              <a:rPr lang="en-AU" sz="1200" dirty="0"/>
              <a:t>Overall operating expenses is forecast to increase by 53% and overall rolling cost to produce is expected to rise from $33.67/megalitre to $71.68/megalitre</a:t>
            </a:r>
          </a:p>
          <a:p>
            <a:pPr fontAlgn="base">
              <a:spcAft>
                <a:spcPts val="1200"/>
              </a:spcAft>
              <a:buFont typeface="+mj-lt"/>
              <a:buAutoNum type="arabicPeriod"/>
            </a:pPr>
            <a:r>
              <a:rPr lang="en-AU" sz="1200" dirty="0"/>
              <a:t>The rise in costs will make it difficult for Southern Water Corp to break-even and price competitively, especially when the market price is expected to be at around $53.98/megalitre</a:t>
            </a:r>
          </a:p>
          <a:p>
            <a:pPr fontAlgn="base">
              <a:spcAft>
                <a:spcPts val="1200"/>
              </a:spcAft>
              <a:buFont typeface="+mj-lt"/>
              <a:buAutoNum type="arabicPeriod"/>
            </a:pPr>
            <a:r>
              <a:rPr lang="en-AU" sz="1200" dirty="0"/>
              <a:t>Our goal is to to keep costs to a minimum and prevent our plants from failing in the first place (or minimize the damages)</a:t>
            </a:r>
          </a:p>
          <a:p>
            <a:pPr fontAlgn="base">
              <a:spcAft>
                <a:spcPts val="1200"/>
              </a:spcAft>
              <a:buFont typeface="+mj-lt"/>
              <a:buAutoNum type="arabicPeriod"/>
            </a:pPr>
            <a:r>
              <a:rPr lang="en-AU" sz="1200" dirty="0"/>
              <a:t>Through descriptive and inferential statistics analysis we concluded that SURJEK PUMP TORQUE, MAXIMUM DAILY PUMP TORQUE, and SURJEK FLOW METER 2 are the three variables that are highly correlated to pump failure</a:t>
            </a:r>
          </a:p>
        </p:txBody>
      </p:sp>
    </p:spTree>
    <p:extLst>
      <p:ext uri="{BB962C8B-B14F-4D97-AF65-F5344CB8AC3E}">
        <p14:creationId xmlns:p14="http://schemas.microsoft.com/office/powerpoint/2010/main" val="2585196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451" y="230188"/>
            <a:ext cx="8618537" cy="64633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400" dirty="0"/>
              <a:t>Through the utilization of descriptive and inferential statistics, we identified three variables with high correlation to pump failure. The multivariate regression equation will help us identify abnormal behaviour that will lead to pump failure</a:t>
            </a:r>
            <a:endParaRPr sz="1400" dirty="0"/>
          </a:p>
        </p:txBody>
      </p:sp>
      <p:sp>
        <p:nvSpPr>
          <p:cNvPr id="72" name="Google Shape;72;p2"/>
          <p:cNvSpPr txBox="1"/>
          <p:nvPr/>
        </p:nvSpPr>
        <p:spPr>
          <a:xfrm>
            <a:off x="5007166" y="104022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sp>
        <p:nvSpPr>
          <p:cNvPr id="73" name="Google Shape;73;p2"/>
          <p:cNvSpPr txBox="1"/>
          <p:nvPr/>
        </p:nvSpPr>
        <p:spPr>
          <a:xfrm>
            <a:off x="5233307" y="1403666"/>
            <a:ext cx="3061607" cy="3631723"/>
          </a:xfrm>
          <a:prstGeom prst="rect">
            <a:avLst/>
          </a:prstGeom>
          <a:noFill/>
          <a:ln>
            <a:noFill/>
          </a:ln>
        </p:spPr>
        <p:txBody>
          <a:bodyPr spcFirstLastPara="1" wrap="square" lIns="91425" tIns="45700" rIns="91425" bIns="45700" anchor="t" anchorCtr="0">
            <a:spAutoFit/>
          </a:bodyPr>
          <a:lstStyle/>
          <a:p>
            <a:pPr marL="171450" marR="0" lvl="0" indent="-171450" algn="l" rtl="0">
              <a:spcBef>
                <a:spcPts val="0"/>
              </a:spcBef>
              <a:spcAft>
                <a:spcPts val="0"/>
              </a:spcAft>
              <a:buFont typeface="Arial" panose="020B0604020202020204" pitchFamily="34" charset="0"/>
              <a:buChar char="•"/>
            </a:pPr>
            <a:r>
              <a:rPr lang="en-AU" sz="1200" dirty="0">
                <a:solidFill>
                  <a:schemeClr val="dk1"/>
                </a:solidFill>
              </a:rPr>
              <a:t>After analysing the dataset for </a:t>
            </a:r>
            <a:r>
              <a:rPr lang="en-AU" sz="1200" dirty="0" err="1">
                <a:solidFill>
                  <a:schemeClr val="dk1"/>
                </a:solidFill>
              </a:rPr>
              <a:t>Surjek</a:t>
            </a:r>
            <a:r>
              <a:rPr lang="en-AU" sz="1200" dirty="0">
                <a:solidFill>
                  <a:schemeClr val="dk1"/>
                </a:solidFill>
              </a:rPr>
              <a:t> desalination plant we have identified that </a:t>
            </a:r>
            <a:r>
              <a:rPr lang="en-AU" sz="1200" b="1" dirty="0">
                <a:solidFill>
                  <a:schemeClr val="dk1"/>
                </a:solidFill>
              </a:rPr>
              <a:t>SURJEK PUMP TORQUE, MAXIMUM DAILY PUMP TORQUE, and SURJEK FLOW METER 2 </a:t>
            </a:r>
            <a:r>
              <a:rPr lang="en-AU" sz="1200" dirty="0">
                <a:solidFill>
                  <a:schemeClr val="dk1"/>
                </a:solidFill>
              </a:rPr>
              <a:t>are the top 3 variables that</a:t>
            </a:r>
            <a:r>
              <a:rPr lang="en-AU" sz="1200" b="1" dirty="0">
                <a:solidFill>
                  <a:schemeClr val="dk1"/>
                </a:solidFill>
              </a:rPr>
              <a:t> </a:t>
            </a:r>
            <a:r>
              <a:rPr lang="en-AU" sz="1200" dirty="0">
                <a:solidFill>
                  <a:schemeClr val="dk1"/>
                </a:solidFill>
              </a:rPr>
              <a:t>are highly correlated (&gt; 0.5) to pump failure</a:t>
            </a:r>
          </a:p>
          <a:p>
            <a:pPr marL="171450" marR="0" lvl="0" indent="-171450" algn="l" rtl="0">
              <a:spcBef>
                <a:spcPts val="0"/>
              </a:spcBef>
              <a:spcAft>
                <a:spcPts val="0"/>
              </a:spcAft>
              <a:buFont typeface="Arial" panose="020B0604020202020204" pitchFamily="34" charset="0"/>
              <a:buChar char="•"/>
            </a:pPr>
            <a:endParaRPr lang="en-AU" dirty="0">
              <a:solidFill>
                <a:schemeClr val="tx1"/>
              </a:solidFill>
            </a:endParaRPr>
          </a:p>
          <a:p>
            <a:pPr marL="171450" indent="-171450">
              <a:buFont typeface="Arial" panose="020B0604020202020204" pitchFamily="34" charset="0"/>
              <a:buChar char="•"/>
            </a:pPr>
            <a:r>
              <a:rPr lang="en-US" sz="1200" dirty="0">
                <a:solidFill>
                  <a:schemeClr val="tx1"/>
                </a:solidFill>
              </a:rPr>
              <a:t>The regression model produced an </a:t>
            </a:r>
            <a:r>
              <a:rPr lang="en-US" sz="1200" b="1" dirty="0">
                <a:solidFill>
                  <a:schemeClr val="tx1"/>
                </a:solidFill>
              </a:rPr>
              <a:t>R Square value of 0.536 </a:t>
            </a:r>
          </a:p>
          <a:p>
            <a:pPr marL="171450" indent="-171450">
              <a:buFont typeface="Arial" panose="020B0604020202020204" pitchFamily="34" charset="0"/>
              <a:buChar char="•"/>
            </a:pPr>
            <a:endParaRPr lang="en-US" sz="1200" b="1" dirty="0">
              <a:solidFill>
                <a:schemeClr val="tx1"/>
              </a:solidFill>
            </a:endParaRPr>
          </a:p>
          <a:p>
            <a:pPr marL="171450" indent="-171450">
              <a:buFont typeface="Arial" panose="020B0604020202020204" pitchFamily="34" charset="0"/>
              <a:buChar char="•"/>
            </a:pPr>
            <a:r>
              <a:rPr lang="en-US" sz="1200" dirty="0">
                <a:solidFill>
                  <a:schemeClr val="tx1"/>
                </a:solidFill>
              </a:rPr>
              <a:t>With more data, improvements could be made to the model to achieve a higher R Square and improve accuracy</a:t>
            </a:r>
          </a:p>
          <a:p>
            <a:endParaRPr lang="en-US" sz="1200" dirty="0">
              <a:solidFill>
                <a:schemeClr val="tx1"/>
              </a:solidFill>
            </a:endParaRPr>
          </a:p>
          <a:p>
            <a:pPr marL="171450" indent="-171450">
              <a:buFont typeface="Arial" panose="020B0604020202020204" pitchFamily="34" charset="0"/>
              <a:buChar char="•"/>
            </a:pPr>
            <a:r>
              <a:rPr lang="en-US" sz="1200" dirty="0">
                <a:solidFill>
                  <a:schemeClr val="tx1"/>
                </a:solidFill>
              </a:rPr>
              <a:t>There are smaller spikes that occurred before the big spike. Further analysis can be done to see if that is an early indication of a pump failure</a:t>
            </a:r>
            <a:endParaRPr lang="en-US" sz="1200" b="1" dirty="0">
              <a:solidFill>
                <a:schemeClr val="tx1"/>
              </a:solidFill>
            </a:endParaRPr>
          </a:p>
        </p:txBody>
      </p:sp>
      <p:sp>
        <p:nvSpPr>
          <p:cNvPr id="74" name="Google Shape;74;p2"/>
          <p:cNvSpPr/>
          <p:nvPr/>
        </p:nvSpPr>
        <p:spPr>
          <a:xfrm>
            <a:off x="5089793" y="1355536"/>
            <a:ext cx="3338111"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graphicFrame>
        <p:nvGraphicFramePr>
          <p:cNvPr id="16" name="Chart 15">
            <a:extLst>
              <a:ext uri="{FF2B5EF4-FFF2-40B4-BE49-F238E27FC236}">
                <a16:creationId xmlns:a16="http://schemas.microsoft.com/office/drawing/2014/main" id="{C061BDCC-2400-459B-B9BC-42320778AE2B}"/>
              </a:ext>
            </a:extLst>
          </p:cNvPr>
          <p:cNvGraphicFramePr>
            <a:graphicFrameLocks/>
          </p:cNvGraphicFramePr>
          <p:nvPr>
            <p:extLst>
              <p:ext uri="{D42A27DB-BD31-4B8C-83A1-F6EECF244321}">
                <p14:modId xmlns:p14="http://schemas.microsoft.com/office/powerpoint/2010/main" val="2047150457"/>
              </p:ext>
            </p:extLst>
          </p:nvPr>
        </p:nvGraphicFramePr>
        <p:xfrm>
          <a:off x="0" y="1142999"/>
          <a:ext cx="5089649" cy="5048475"/>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CCA3672F-49DB-4C1F-8068-E7E7C6B012F3}"/>
              </a:ext>
            </a:extLst>
          </p:cNvPr>
          <p:cNvSpPr/>
          <p:nvPr/>
        </p:nvSpPr>
        <p:spPr>
          <a:xfrm>
            <a:off x="1216152" y="4727448"/>
            <a:ext cx="841248" cy="1024128"/>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2449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0" y="233695"/>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From our descriptive statistics analysis, </a:t>
            </a:r>
            <a:r>
              <a:rPr lang="en-AU" sz="1800" dirty="0" err="1"/>
              <a:t>Surjek</a:t>
            </a:r>
            <a:r>
              <a:rPr lang="en-AU" sz="1800" dirty="0"/>
              <a:t> Flow Meter 2, Pump Torque, and Maximum Daily Pump Torque are variables that stood out</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448056" y="4713081"/>
            <a:ext cx="7909561" cy="1221376"/>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448056" y="4746190"/>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109" name="Google Shape;109;p5"/>
          <p:cNvSpPr txBox="1"/>
          <p:nvPr/>
        </p:nvSpPr>
        <p:spPr>
          <a:xfrm>
            <a:off x="517909" y="4837008"/>
            <a:ext cx="7839708" cy="954067"/>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1400"/>
            </a:pPr>
            <a:endParaRPr lang="en-AU" dirty="0">
              <a:solidFill>
                <a:schemeClr val="dk1"/>
              </a:solidFill>
            </a:endParaRPr>
          </a:p>
          <a:p>
            <a:pPr marL="285750" marR="0" lvl="0" indent="-285750" algn="l" rtl="0">
              <a:spcBef>
                <a:spcPts val="0"/>
              </a:spcBef>
              <a:spcAft>
                <a:spcPts val="0"/>
              </a:spcAft>
              <a:buClr>
                <a:schemeClr val="dk1"/>
              </a:buClr>
              <a:buSzPts val="1400"/>
              <a:buFont typeface="Noto Sans Symbols"/>
              <a:buChar char="▪"/>
            </a:pPr>
            <a:r>
              <a:rPr lang="en-US" dirty="0">
                <a:solidFill>
                  <a:schemeClr val="tx1"/>
                </a:solidFill>
              </a:rPr>
              <a:t>The graph on the left shows what the variables are like when the plant is functioning normally</a:t>
            </a:r>
            <a:endParaRPr dirty="0">
              <a:solidFill>
                <a:schemeClr val="tx1"/>
              </a:solidFill>
            </a:endParaRPr>
          </a:p>
          <a:p>
            <a:pPr marL="285750" marR="0" lvl="0" indent="-285750" algn="l" rtl="0">
              <a:spcBef>
                <a:spcPts val="0"/>
              </a:spcBef>
              <a:spcAft>
                <a:spcPts val="0"/>
              </a:spcAft>
              <a:buClr>
                <a:schemeClr val="dk1"/>
              </a:buClr>
              <a:buSzPts val="1400"/>
              <a:buFont typeface="Noto Sans Symbols"/>
              <a:buChar char="▪"/>
            </a:pPr>
            <a:r>
              <a:rPr lang="en-AU" dirty="0">
                <a:solidFill>
                  <a:schemeClr val="tx1"/>
                </a:solidFill>
              </a:rPr>
              <a:t>The graph on the right shows large variation across 3 noticeable variables when there is a pump failure</a:t>
            </a:r>
            <a:endParaRPr dirty="0">
              <a:solidFill>
                <a:schemeClr val="tx1"/>
              </a:solidFill>
            </a:endParaRPr>
          </a:p>
        </p:txBody>
      </p:sp>
      <p:pic>
        <p:nvPicPr>
          <p:cNvPr id="9" name="Picture 8">
            <a:extLst>
              <a:ext uri="{FF2B5EF4-FFF2-40B4-BE49-F238E27FC236}">
                <a16:creationId xmlns:a16="http://schemas.microsoft.com/office/drawing/2014/main" id="{74C0CCA1-3CCF-47F2-83D0-39E6275A0AF2}"/>
              </a:ext>
            </a:extLst>
          </p:cNvPr>
          <p:cNvPicPr>
            <a:picLocks noChangeAspect="1"/>
          </p:cNvPicPr>
          <p:nvPr/>
        </p:nvPicPr>
        <p:blipFill>
          <a:blip r:embed="rId3"/>
          <a:stretch>
            <a:fillRect/>
          </a:stretch>
        </p:blipFill>
        <p:spPr>
          <a:xfrm>
            <a:off x="0" y="927668"/>
            <a:ext cx="4480719" cy="3542732"/>
          </a:xfrm>
          <a:prstGeom prst="rect">
            <a:avLst/>
          </a:prstGeom>
        </p:spPr>
      </p:pic>
      <p:pic>
        <p:nvPicPr>
          <p:cNvPr id="10" name="Picture 9">
            <a:extLst>
              <a:ext uri="{FF2B5EF4-FFF2-40B4-BE49-F238E27FC236}">
                <a16:creationId xmlns:a16="http://schemas.microsoft.com/office/drawing/2014/main" id="{611363CA-FE25-43EF-8E99-B83C45B0CEF1}"/>
              </a:ext>
            </a:extLst>
          </p:cNvPr>
          <p:cNvPicPr>
            <a:picLocks noChangeAspect="1"/>
          </p:cNvPicPr>
          <p:nvPr/>
        </p:nvPicPr>
        <p:blipFill>
          <a:blip r:embed="rId4"/>
          <a:stretch>
            <a:fillRect/>
          </a:stretch>
        </p:blipFill>
        <p:spPr>
          <a:xfrm>
            <a:off x="4480719" y="916769"/>
            <a:ext cx="4480720" cy="3542729"/>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0" y="41879"/>
            <a:ext cx="8618537" cy="830997"/>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Using inferential statistics we were able to identify 3  variables that are strongly correlated to pump failure, which backed up our descriptive statistics analysis (boxplots) findings</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7" name="Google Shape;117;p6"/>
          <p:cNvSpPr txBox="1"/>
          <p:nvPr/>
        </p:nvSpPr>
        <p:spPr>
          <a:xfrm>
            <a:off x="973303" y="4609325"/>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119" name="Google Shape;119;p6"/>
          <p:cNvSpPr txBox="1"/>
          <p:nvPr/>
        </p:nvSpPr>
        <p:spPr>
          <a:xfrm>
            <a:off x="795529" y="4965232"/>
            <a:ext cx="6656832" cy="738623"/>
          </a:xfrm>
          <a:prstGeom prst="rect">
            <a:avLst/>
          </a:prstGeom>
          <a:noFill/>
          <a:ln>
            <a:noFill/>
          </a:ln>
        </p:spPr>
        <p:txBody>
          <a:bodyPr spcFirstLastPara="1" wrap="square" lIns="91425" tIns="45700" rIns="91425" bIns="45700" anchor="t" anchorCtr="0">
            <a:spAutoFit/>
          </a:bodyPr>
          <a:lstStyle/>
          <a:p>
            <a:pPr marL="285750" indent="-285750">
              <a:buClr>
                <a:schemeClr val="dk1"/>
              </a:buClr>
              <a:buSzPts val="1400"/>
              <a:buFont typeface="Noto Sans Symbols"/>
              <a:buChar char="▪"/>
            </a:pPr>
            <a:r>
              <a:rPr lang="en-AU" dirty="0">
                <a:solidFill>
                  <a:schemeClr val="dk1"/>
                </a:solidFill>
              </a:rPr>
              <a:t>After the correlation was calculated we identified SURJEK PUMP TORQUE, MAXIMUM DAILY PUMP TORQUE and SURJEK FLOW METER 2 as the top 3 variables that</a:t>
            </a:r>
            <a:r>
              <a:rPr lang="en-AU" b="1" dirty="0">
                <a:solidFill>
                  <a:schemeClr val="dk1"/>
                </a:solidFill>
              </a:rPr>
              <a:t> </a:t>
            </a:r>
            <a:r>
              <a:rPr lang="en-AU" dirty="0">
                <a:solidFill>
                  <a:schemeClr val="dk1"/>
                </a:solidFill>
              </a:rPr>
              <a:t>are highly correlated (&gt; 0.5) to pump failure</a:t>
            </a:r>
            <a:endParaRPr sz="1400" dirty="0">
              <a:solidFill>
                <a:schemeClr val="dk1"/>
              </a:solidFill>
              <a:latin typeface="Arial"/>
              <a:ea typeface="Arial"/>
              <a:cs typeface="Arial"/>
              <a:sym typeface="Arial"/>
            </a:endParaRPr>
          </a:p>
        </p:txBody>
      </p:sp>
      <p:graphicFrame>
        <p:nvGraphicFramePr>
          <p:cNvPr id="12" name="Chart 11">
            <a:extLst>
              <a:ext uri="{FF2B5EF4-FFF2-40B4-BE49-F238E27FC236}">
                <a16:creationId xmlns:a16="http://schemas.microsoft.com/office/drawing/2014/main" id="{67DE60CB-BCBB-43DB-A305-9B5714234463}"/>
              </a:ext>
            </a:extLst>
          </p:cNvPr>
          <p:cNvGraphicFramePr>
            <a:graphicFrameLocks/>
          </p:cNvGraphicFramePr>
          <p:nvPr>
            <p:extLst>
              <p:ext uri="{D42A27DB-BD31-4B8C-83A1-F6EECF244321}">
                <p14:modId xmlns:p14="http://schemas.microsoft.com/office/powerpoint/2010/main" val="2629616935"/>
              </p:ext>
            </p:extLst>
          </p:nvPr>
        </p:nvGraphicFramePr>
        <p:xfrm>
          <a:off x="795528" y="1201648"/>
          <a:ext cx="7434073" cy="3386682"/>
        </p:xfrm>
        <a:graphic>
          <a:graphicData uri="http://schemas.openxmlformats.org/drawingml/2006/chart">
            <c:chart xmlns:c="http://schemas.openxmlformats.org/drawingml/2006/chart" xmlns:r="http://schemas.openxmlformats.org/officeDocument/2006/relationships" r:id="rId3"/>
          </a:graphicData>
        </a:graphic>
      </p:graphicFrame>
      <p:sp>
        <p:nvSpPr>
          <p:cNvPr id="13" name="Google Shape;106;p5">
            <a:extLst>
              <a:ext uri="{FF2B5EF4-FFF2-40B4-BE49-F238E27FC236}">
                <a16:creationId xmlns:a16="http://schemas.microsoft.com/office/drawing/2014/main" id="{86D22D4A-D730-4845-A0DE-6C66025A4238}"/>
              </a:ext>
            </a:extLst>
          </p:cNvPr>
          <p:cNvSpPr/>
          <p:nvPr/>
        </p:nvSpPr>
        <p:spPr>
          <a:xfrm>
            <a:off x="795528" y="4609325"/>
            <a:ext cx="6821424" cy="12245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0" y="453537"/>
            <a:ext cx="8618537" cy="307777"/>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sz="2000" dirty="0"/>
              <a:t>Conclusion / Solution</a:t>
            </a:r>
            <a:endParaRPr sz="2000"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 name="Google Shape;119;p6">
            <a:extLst>
              <a:ext uri="{FF2B5EF4-FFF2-40B4-BE49-F238E27FC236}">
                <a16:creationId xmlns:a16="http://schemas.microsoft.com/office/drawing/2014/main" id="{F41AA90F-B448-41CC-B7B0-C416D56408EB}"/>
              </a:ext>
            </a:extLst>
          </p:cNvPr>
          <p:cNvSpPr txBox="1"/>
          <p:nvPr/>
        </p:nvSpPr>
        <p:spPr>
          <a:xfrm>
            <a:off x="171450" y="1223435"/>
            <a:ext cx="7663084" cy="1815841"/>
          </a:xfrm>
          <a:prstGeom prst="rect">
            <a:avLst/>
          </a:prstGeom>
          <a:noFill/>
          <a:ln>
            <a:noFill/>
          </a:ln>
        </p:spPr>
        <p:txBody>
          <a:bodyPr spcFirstLastPara="1" wrap="square" lIns="91425" tIns="45700" rIns="91425" bIns="45700" anchor="t" anchorCtr="0">
            <a:spAutoFit/>
          </a:bodyPr>
          <a:lstStyle/>
          <a:p>
            <a:pPr marL="342900" indent="-342900">
              <a:buClr>
                <a:schemeClr val="dk1"/>
              </a:buClr>
              <a:buSzPts val="1400"/>
              <a:buFont typeface="+mj-lt"/>
              <a:buAutoNum type="arabicPeriod"/>
            </a:pPr>
            <a:r>
              <a:rPr lang="en-AU" dirty="0">
                <a:solidFill>
                  <a:schemeClr val="dk1"/>
                </a:solidFill>
              </a:rPr>
              <a:t>We now know that SURJEK PUMP TORQUE, MAXIMUM DAILY PUMP TORQUE and SURJEK FLOW METER 2 are the three variables that are highly correlated to pump failure</a:t>
            </a:r>
          </a:p>
          <a:p>
            <a:pPr marL="342900" indent="-342900">
              <a:buClr>
                <a:schemeClr val="dk1"/>
              </a:buClr>
              <a:buSzPts val="1400"/>
              <a:buFont typeface="+mj-lt"/>
              <a:buAutoNum type="arabicPeriod"/>
            </a:pPr>
            <a:endParaRPr lang="en-AU" dirty="0">
              <a:solidFill>
                <a:schemeClr val="dk1"/>
              </a:solidFill>
            </a:endParaRPr>
          </a:p>
          <a:p>
            <a:pPr marL="342900" indent="-342900">
              <a:buClr>
                <a:schemeClr val="dk1"/>
              </a:buClr>
              <a:buSzPts val="1400"/>
              <a:buFont typeface="+mj-lt"/>
              <a:buAutoNum type="arabicPeriod"/>
            </a:pPr>
            <a:r>
              <a:rPr lang="en-AU" dirty="0">
                <a:solidFill>
                  <a:schemeClr val="dk1"/>
                </a:solidFill>
              </a:rPr>
              <a:t>With the information that we know, we should work with the engineers to see if any upgrades can be done to prevent future malfunctions or lessen the damages</a:t>
            </a:r>
          </a:p>
          <a:p>
            <a:pPr marL="342900" indent="-342900">
              <a:buClr>
                <a:schemeClr val="dk1"/>
              </a:buClr>
              <a:buSzPts val="1400"/>
              <a:buFont typeface="+mj-lt"/>
              <a:buAutoNum type="arabicPeriod"/>
            </a:pPr>
            <a:endParaRPr lang="en-AU" dirty="0">
              <a:solidFill>
                <a:schemeClr val="dk1"/>
              </a:solidFill>
            </a:endParaRPr>
          </a:p>
          <a:p>
            <a:pPr marL="342900" indent="-342900">
              <a:buClr>
                <a:schemeClr val="dk1"/>
              </a:buClr>
              <a:buSzPts val="1400"/>
              <a:buFont typeface="+mj-lt"/>
              <a:buAutoNum type="arabicPeriod"/>
            </a:pPr>
            <a:r>
              <a:rPr lang="en-AU" dirty="0">
                <a:solidFill>
                  <a:schemeClr val="dk1"/>
                </a:solidFill>
              </a:rPr>
              <a:t>With less pump failures it will (</a:t>
            </a:r>
            <a:r>
              <a:rPr lang="en-AU" dirty="0" err="1">
                <a:solidFill>
                  <a:schemeClr val="dk1"/>
                </a:solidFill>
              </a:rPr>
              <a:t>i</a:t>
            </a:r>
            <a:r>
              <a:rPr lang="en-AU" dirty="0">
                <a:solidFill>
                  <a:schemeClr val="dk1"/>
                </a:solidFill>
              </a:rPr>
              <a:t>) help minimize overall costs and (ii) allows Southern Water Corp to price competitively in a market with rising competition</a:t>
            </a:r>
            <a:endParaRPr lang="en-AU" b="1"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756893998"/>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641</TotalTime>
  <Words>701</Words>
  <Application>Microsoft Office PowerPoint</Application>
  <PresentationFormat>Custom</PresentationFormat>
  <Paragraphs>48</Paragraphs>
  <Slides>6</Slides>
  <Notes>6</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Noto Sans Symbols</vt:lpstr>
      <vt:lpstr>Synergy_CF_YNR002</vt:lpstr>
      <vt:lpstr>1_Synergy_CF_YNR002</vt:lpstr>
      <vt:lpstr>TCLayout.ActiveDocument.1</vt:lpstr>
      <vt:lpstr>Southern Water Corp – Technical Presentation</vt:lpstr>
      <vt:lpstr>Executive Summary</vt:lpstr>
      <vt:lpstr>Through the utilization of descriptive and inferential statistics, we identified three variables with high correlation to pump failure. The multivariate regression equation will help us identify abnormal behaviour that will lead to pump failure</vt:lpstr>
      <vt:lpstr>From our descriptive statistics analysis, Surjek Flow Meter 2, Pump Torque, and Maximum Daily Pump Torque are variables that stood out</vt:lpstr>
      <vt:lpstr>Using inferential statistics we were able to identify 3  variables that are strongly correlated to pump failure, which backed up our descriptive statistics analysis (boxplots) findings</vt:lpstr>
      <vt:lpstr>Conclusion / Solu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Danny Hua</cp:lastModifiedBy>
  <cp:revision>86</cp:revision>
  <dcterms:created xsi:type="dcterms:W3CDTF">2015-09-14T11:37:31Z</dcterms:created>
  <dcterms:modified xsi:type="dcterms:W3CDTF">2020-06-29T21:3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